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4"/>
    <p:sldMasterId id="2147483707" r:id="rId5"/>
    <p:sldMasterId id="2147483726" r:id="rId6"/>
    <p:sldMasterId id="2147483748" r:id="rId7"/>
  </p:sldMasterIdLst>
  <p:notesMasterIdLst>
    <p:notesMasterId r:id="rId25"/>
  </p:notesMasterIdLst>
  <p:sldIdLst>
    <p:sldId id="256" r:id="rId8"/>
    <p:sldId id="260" r:id="rId9"/>
    <p:sldId id="261" r:id="rId10"/>
    <p:sldId id="278" r:id="rId11"/>
    <p:sldId id="262" r:id="rId12"/>
    <p:sldId id="263" r:id="rId13"/>
    <p:sldId id="264" r:id="rId14"/>
    <p:sldId id="265" r:id="rId15"/>
    <p:sldId id="266" r:id="rId16"/>
    <p:sldId id="267" r:id="rId17"/>
    <p:sldId id="268" r:id="rId18"/>
    <p:sldId id="269" r:id="rId19"/>
    <p:sldId id="270" r:id="rId20"/>
    <p:sldId id="271" r:id="rId21"/>
    <p:sldId id="272" r:id="rId22"/>
    <p:sldId id="274" r:id="rId23"/>
    <p:sldId id="277" r:id="rId24"/>
  </p:sldIdLst>
  <p:sldSz cx="12192000" cy="6858000"/>
  <p:notesSz cx="6858000" cy="91440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Century Gothic" panose="020B0502020202020204" pitchFamily="34" charset="0"/>
      <p:regular r:id="rId30"/>
      <p:bold r:id="rId31"/>
      <p:italic r:id="rId32"/>
      <p:boldItalic r:id="rId33"/>
    </p:embeddedFont>
  </p:embeddedFontLst>
  <p:custDataLst>
    <p:tags r:id="rId3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7401">
          <p15:clr>
            <a:srgbClr val="A4A3A4"/>
          </p15:clr>
        </p15:guide>
        <p15:guide id="4" orient="horz" pos="4065">
          <p15:clr>
            <a:srgbClr val="A4A3A4"/>
          </p15:clr>
        </p15:guide>
        <p15:guide id="5" pos="279">
          <p15:clr>
            <a:srgbClr val="A4A3A4"/>
          </p15:clr>
        </p15:guide>
        <p15:guide id="6" orient="horz" pos="255">
          <p15:clr>
            <a:srgbClr val="A4A3A4"/>
          </p15:clr>
        </p15:guide>
        <p15:guide id="7" orient="horz" pos="686">
          <p15:clr>
            <a:srgbClr val="A4A3A4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2" roundtripDataSignature="AMtx7mjUPvtyrzuwyHn6IECiwwVHNYbIs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5E1AA1B-19E4-417D-B183-EE12D3EAC269}">
  <a:tblStyle styleId="{65E1AA1B-19E4-417D-B183-EE12D3EAC26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F9FD"/>
          </a:solidFill>
        </a:fill>
      </a:tcStyle>
    </a:wholeTbl>
    <a:band1H>
      <a:tcTxStyle/>
      <a:tcStyle>
        <a:tcBdr/>
        <a:fill>
          <a:solidFill>
            <a:srgbClr val="CAF2F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AF2F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66" y="96"/>
      </p:cViewPr>
      <p:guideLst>
        <p:guide orient="horz" pos="2160"/>
        <p:guide pos="3840"/>
        <p:guide pos="7401"/>
        <p:guide orient="horz" pos="4065"/>
        <p:guide pos="279"/>
        <p:guide orient="horz" pos="255"/>
        <p:guide orient="horz" pos="6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font" Target="fonts/font1.fntdata"/><Relationship Id="rId21" Type="http://schemas.openxmlformats.org/officeDocument/2006/relationships/slide" Target="slides/slide14.xml"/><Relationship Id="rId34" Type="http://schemas.openxmlformats.org/officeDocument/2006/relationships/tags" Target="tags/tag1.xml"/><Relationship Id="rId42" Type="http://customschemas.google.com/relationships/presentationmetadata" Target="metadata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font" Target="fonts/font7.fntdata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font" Target="fonts/font3.fntdata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font" Target="fonts/font6.fntdata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43" Type="http://schemas.openxmlformats.org/officeDocument/2006/relationships/presProps" Target="pres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beth Ramos ext" userId="c92aaec2-d59d-47d5-9ea1-90dd33af6c9d" providerId="ADAL" clId="{45C63EE0-9828-449B-8E5D-30A2E69A471A}"/>
    <pc:docChg chg="delSld delMainMaster">
      <pc:chgData name="Ibeth Ramos ext" userId="c92aaec2-d59d-47d5-9ea1-90dd33af6c9d" providerId="ADAL" clId="{45C63EE0-9828-449B-8E5D-30A2E69A471A}" dt="2020-10-23T15:53:22.346" v="42" actId="2696"/>
      <pc:docMkLst>
        <pc:docMk/>
      </pc:docMkLst>
      <pc:sldChg chg="del">
        <pc:chgData name="Ibeth Ramos ext" userId="c92aaec2-d59d-47d5-9ea1-90dd33af6c9d" providerId="ADAL" clId="{45C63EE0-9828-449B-8E5D-30A2E69A471A}" dt="2020-10-23T15:53:19.535" v="0" actId="2696"/>
        <pc:sldMkLst>
          <pc:docMk/>
          <pc:sldMk cId="0" sldId="257"/>
        </pc:sldMkLst>
      </pc:sldChg>
      <pc:sldChg chg="del">
        <pc:chgData name="Ibeth Ramos ext" userId="c92aaec2-d59d-47d5-9ea1-90dd33af6c9d" providerId="ADAL" clId="{45C63EE0-9828-449B-8E5D-30A2E69A471A}" dt="2020-10-23T15:53:20.802" v="19" actId="2696"/>
        <pc:sldMkLst>
          <pc:docMk/>
          <pc:sldMk cId="0" sldId="258"/>
        </pc:sldMkLst>
      </pc:sldChg>
      <pc:sldChg chg="del">
        <pc:chgData name="Ibeth Ramos ext" userId="c92aaec2-d59d-47d5-9ea1-90dd33af6c9d" providerId="ADAL" clId="{45C63EE0-9828-449B-8E5D-30A2E69A471A}" dt="2020-10-23T15:53:22.307" v="20" actId="2696"/>
        <pc:sldMkLst>
          <pc:docMk/>
          <pc:sldMk cId="0" sldId="259"/>
        </pc:sldMkLst>
      </pc:sldChg>
      <pc:sldMasterChg chg="del delSldLayout">
        <pc:chgData name="Ibeth Ramos ext" userId="c92aaec2-d59d-47d5-9ea1-90dd33af6c9d" providerId="ADAL" clId="{45C63EE0-9828-449B-8E5D-30A2E69A471A}" dt="2020-10-23T15:53:19.574" v="18" actId="2696"/>
        <pc:sldMasterMkLst>
          <pc:docMk/>
          <pc:sldMasterMk cId="0" sldId="2147483667"/>
        </pc:sldMasterMkLst>
        <pc:sldLayoutChg chg="del">
          <pc:chgData name="Ibeth Ramos ext" userId="c92aaec2-d59d-47d5-9ea1-90dd33af6c9d" providerId="ADAL" clId="{45C63EE0-9828-449B-8E5D-30A2E69A471A}" dt="2020-10-23T15:53:19.539" v="1" actId="2696"/>
          <pc:sldLayoutMkLst>
            <pc:docMk/>
            <pc:sldMasterMk cId="0" sldId="2147483667"/>
            <pc:sldLayoutMk cId="0" sldId="2147483668"/>
          </pc:sldLayoutMkLst>
        </pc:sldLayoutChg>
        <pc:sldLayoutChg chg="del">
          <pc:chgData name="Ibeth Ramos ext" userId="c92aaec2-d59d-47d5-9ea1-90dd33af6c9d" providerId="ADAL" clId="{45C63EE0-9828-449B-8E5D-30A2E69A471A}" dt="2020-10-23T15:53:19.542" v="2" actId="2696"/>
          <pc:sldLayoutMkLst>
            <pc:docMk/>
            <pc:sldMasterMk cId="0" sldId="2147483667"/>
            <pc:sldLayoutMk cId="0" sldId="2147483669"/>
          </pc:sldLayoutMkLst>
        </pc:sldLayoutChg>
        <pc:sldLayoutChg chg="del">
          <pc:chgData name="Ibeth Ramos ext" userId="c92aaec2-d59d-47d5-9ea1-90dd33af6c9d" providerId="ADAL" clId="{45C63EE0-9828-449B-8E5D-30A2E69A471A}" dt="2020-10-23T15:53:19.544" v="3" actId="2696"/>
          <pc:sldLayoutMkLst>
            <pc:docMk/>
            <pc:sldMasterMk cId="0" sldId="2147483667"/>
            <pc:sldLayoutMk cId="0" sldId="2147483670"/>
          </pc:sldLayoutMkLst>
        </pc:sldLayoutChg>
        <pc:sldLayoutChg chg="del">
          <pc:chgData name="Ibeth Ramos ext" userId="c92aaec2-d59d-47d5-9ea1-90dd33af6c9d" providerId="ADAL" clId="{45C63EE0-9828-449B-8E5D-30A2E69A471A}" dt="2020-10-23T15:53:19.546" v="4" actId="2696"/>
          <pc:sldLayoutMkLst>
            <pc:docMk/>
            <pc:sldMasterMk cId="0" sldId="2147483667"/>
            <pc:sldLayoutMk cId="0" sldId="2147483671"/>
          </pc:sldLayoutMkLst>
        </pc:sldLayoutChg>
        <pc:sldLayoutChg chg="del">
          <pc:chgData name="Ibeth Ramos ext" userId="c92aaec2-d59d-47d5-9ea1-90dd33af6c9d" providerId="ADAL" clId="{45C63EE0-9828-449B-8E5D-30A2E69A471A}" dt="2020-10-23T15:53:19.548" v="5" actId="2696"/>
          <pc:sldLayoutMkLst>
            <pc:docMk/>
            <pc:sldMasterMk cId="0" sldId="2147483667"/>
            <pc:sldLayoutMk cId="0" sldId="2147483672"/>
          </pc:sldLayoutMkLst>
        </pc:sldLayoutChg>
        <pc:sldLayoutChg chg="del">
          <pc:chgData name="Ibeth Ramos ext" userId="c92aaec2-d59d-47d5-9ea1-90dd33af6c9d" providerId="ADAL" clId="{45C63EE0-9828-449B-8E5D-30A2E69A471A}" dt="2020-10-23T15:53:19.550" v="6" actId="2696"/>
          <pc:sldLayoutMkLst>
            <pc:docMk/>
            <pc:sldMasterMk cId="0" sldId="2147483667"/>
            <pc:sldLayoutMk cId="0" sldId="2147483673"/>
          </pc:sldLayoutMkLst>
        </pc:sldLayoutChg>
        <pc:sldLayoutChg chg="del">
          <pc:chgData name="Ibeth Ramos ext" userId="c92aaec2-d59d-47d5-9ea1-90dd33af6c9d" providerId="ADAL" clId="{45C63EE0-9828-449B-8E5D-30A2E69A471A}" dt="2020-10-23T15:53:19.552" v="7" actId="2696"/>
          <pc:sldLayoutMkLst>
            <pc:docMk/>
            <pc:sldMasterMk cId="0" sldId="2147483667"/>
            <pc:sldLayoutMk cId="0" sldId="2147483674"/>
          </pc:sldLayoutMkLst>
        </pc:sldLayoutChg>
        <pc:sldLayoutChg chg="del">
          <pc:chgData name="Ibeth Ramos ext" userId="c92aaec2-d59d-47d5-9ea1-90dd33af6c9d" providerId="ADAL" clId="{45C63EE0-9828-449B-8E5D-30A2E69A471A}" dt="2020-10-23T15:53:19.553" v="8" actId="2696"/>
          <pc:sldLayoutMkLst>
            <pc:docMk/>
            <pc:sldMasterMk cId="0" sldId="2147483667"/>
            <pc:sldLayoutMk cId="0" sldId="2147483675"/>
          </pc:sldLayoutMkLst>
        </pc:sldLayoutChg>
        <pc:sldLayoutChg chg="del">
          <pc:chgData name="Ibeth Ramos ext" userId="c92aaec2-d59d-47d5-9ea1-90dd33af6c9d" providerId="ADAL" clId="{45C63EE0-9828-449B-8E5D-30A2E69A471A}" dt="2020-10-23T15:53:19.554" v="9" actId="2696"/>
          <pc:sldLayoutMkLst>
            <pc:docMk/>
            <pc:sldMasterMk cId="0" sldId="2147483667"/>
            <pc:sldLayoutMk cId="0" sldId="2147483676"/>
          </pc:sldLayoutMkLst>
        </pc:sldLayoutChg>
        <pc:sldLayoutChg chg="del">
          <pc:chgData name="Ibeth Ramos ext" userId="c92aaec2-d59d-47d5-9ea1-90dd33af6c9d" providerId="ADAL" clId="{45C63EE0-9828-449B-8E5D-30A2E69A471A}" dt="2020-10-23T15:53:19.556" v="10" actId="2696"/>
          <pc:sldLayoutMkLst>
            <pc:docMk/>
            <pc:sldMasterMk cId="0" sldId="2147483667"/>
            <pc:sldLayoutMk cId="0" sldId="2147483677"/>
          </pc:sldLayoutMkLst>
        </pc:sldLayoutChg>
        <pc:sldLayoutChg chg="del">
          <pc:chgData name="Ibeth Ramos ext" userId="c92aaec2-d59d-47d5-9ea1-90dd33af6c9d" providerId="ADAL" clId="{45C63EE0-9828-449B-8E5D-30A2E69A471A}" dt="2020-10-23T15:53:19.557" v="11" actId="2696"/>
          <pc:sldLayoutMkLst>
            <pc:docMk/>
            <pc:sldMasterMk cId="0" sldId="2147483667"/>
            <pc:sldLayoutMk cId="0" sldId="2147483678"/>
          </pc:sldLayoutMkLst>
        </pc:sldLayoutChg>
        <pc:sldLayoutChg chg="del">
          <pc:chgData name="Ibeth Ramos ext" userId="c92aaec2-d59d-47d5-9ea1-90dd33af6c9d" providerId="ADAL" clId="{45C63EE0-9828-449B-8E5D-30A2E69A471A}" dt="2020-10-23T15:53:19.558" v="12" actId="2696"/>
          <pc:sldLayoutMkLst>
            <pc:docMk/>
            <pc:sldMasterMk cId="0" sldId="2147483667"/>
            <pc:sldLayoutMk cId="0" sldId="2147483679"/>
          </pc:sldLayoutMkLst>
        </pc:sldLayoutChg>
        <pc:sldLayoutChg chg="del">
          <pc:chgData name="Ibeth Ramos ext" userId="c92aaec2-d59d-47d5-9ea1-90dd33af6c9d" providerId="ADAL" clId="{45C63EE0-9828-449B-8E5D-30A2E69A471A}" dt="2020-10-23T15:53:19.559" v="13" actId="2696"/>
          <pc:sldLayoutMkLst>
            <pc:docMk/>
            <pc:sldMasterMk cId="0" sldId="2147483667"/>
            <pc:sldLayoutMk cId="0" sldId="2147483680"/>
          </pc:sldLayoutMkLst>
        </pc:sldLayoutChg>
        <pc:sldLayoutChg chg="del">
          <pc:chgData name="Ibeth Ramos ext" userId="c92aaec2-d59d-47d5-9ea1-90dd33af6c9d" providerId="ADAL" clId="{45C63EE0-9828-449B-8E5D-30A2E69A471A}" dt="2020-10-23T15:53:19.560" v="14" actId="2696"/>
          <pc:sldLayoutMkLst>
            <pc:docMk/>
            <pc:sldMasterMk cId="0" sldId="2147483667"/>
            <pc:sldLayoutMk cId="0" sldId="2147483681"/>
          </pc:sldLayoutMkLst>
        </pc:sldLayoutChg>
        <pc:sldLayoutChg chg="del">
          <pc:chgData name="Ibeth Ramos ext" userId="c92aaec2-d59d-47d5-9ea1-90dd33af6c9d" providerId="ADAL" clId="{45C63EE0-9828-449B-8E5D-30A2E69A471A}" dt="2020-10-23T15:53:19.561" v="15" actId="2696"/>
          <pc:sldLayoutMkLst>
            <pc:docMk/>
            <pc:sldMasterMk cId="0" sldId="2147483667"/>
            <pc:sldLayoutMk cId="0" sldId="2147483682"/>
          </pc:sldLayoutMkLst>
        </pc:sldLayoutChg>
        <pc:sldLayoutChg chg="del">
          <pc:chgData name="Ibeth Ramos ext" userId="c92aaec2-d59d-47d5-9ea1-90dd33af6c9d" providerId="ADAL" clId="{45C63EE0-9828-449B-8E5D-30A2E69A471A}" dt="2020-10-23T15:53:19.562" v="16" actId="2696"/>
          <pc:sldLayoutMkLst>
            <pc:docMk/>
            <pc:sldMasterMk cId="0" sldId="2147483667"/>
            <pc:sldLayoutMk cId="0" sldId="2147483683"/>
          </pc:sldLayoutMkLst>
        </pc:sldLayoutChg>
        <pc:sldLayoutChg chg="del">
          <pc:chgData name="Ibeth Ramos ext" userId="c92aaec2-d59d-47d5-9ea1-90dd33af6c9d" providerId="ADAL" clId="{45C63EE0-9828-449B-8E5D-30A2E69A471A}" dt="2020-10-23T15:53:19.563" v="17" actId="2696"/>
          <pc:sldLayoutMkLst>
            <pc:docMk/>
            <pc:sldMasterMk cId="0" sldId="2147483667"/>
            <pc:sldLayoutMk cId="0" sldId="2147483684"/>
          </pc:sldLayoutMkLst>
        </pc:sldLayoutChg>
      </pc:sldMasterChg>
      <pc:sldMasterChg chg="del delSldLayout">
        <pc:chgData name="Ibeth Ramos ext" userId="c92aaec2-d59d-47d5-9ea1-90dd33af6c9d" providerId="ADAL" clId="{45C63EE0-9828-449B-8E5D-30A2E69A471A}" dt="2020-10-23T15:53:22.346" v="42" actId="2696"/>
        <pc:sldMasterMkLst>
          <pc:docMk/>
          <pc:sldMasterMk cId="0" sldId="2147483685"/>
        </pc:sldMasterMkLst>
        <pc:sldLayoutChg chg="del">
          <pc:chgData name="Ibeth Ramos ext" userId="c92aaec2-d59d-47d5-9ea1-90dd33af6c9d" providerId="ADAL" clId="{45C63EE0-9828-449B-8E5D-30A2E69A471A}" dt="2020-10-23T15:53:22.309" v="21" actId="2696"/>
          <pc:sldLayoutMkLst>
            <pc:docMk/>
            <pc:sldMasterMk cId="0" sldId="2147483685"/>
            <pc:sldLayoutMk cId="0" sldId="2147483686"/>
          </pc:sldLayoutMkLst>
        </pc:sldLayoutChg>
        <pc:sldLayoutChg chg="del">
          <pc:chgData name="Ibeth Ramos ext" userId="c92aaec2-d59d-47d5-9ea1-90dd33af6c9d" providerId="ADAL" clId="{45C63EE0-9828-449B-8E5D-30A2E69A471A}" dt="2020-10-23T15:53:22.310" v="22" actId="2696"/>
          <pc:sldLayoutMkLst>
            <pc:docMk/>
            <pc:sldMasterMk cId="0" sldId="2147483685"/>
            <pc:sldLayoutMk cId="0" sldId="2147483687"/>
          </pc:sldLayoutMkLst>
        </pc:sldLayoutChg>
        <pc:sldLayoutChg chg="del">
          <pc:chgData name="Ibeth Ramos ext" userId="c92aaec2-d59d-47d5-9ea1-90dd33af6c9d" providerId="ADAL" clId="{45C63EE0-9828-449B-8E5D-30A2E69A471A}" dt="2020-10-23T15:53:22.312" v="23" actId="2696"/>
          <pc:sldLayoutMkLst>
            <pc:docMk/>
            <pc:sldMasterMk cId="0" sldId="2147483685"/>
            <pc:sldLayoutMk cId="0" sldId="2147483688"/>
          </pc:sldLayoutMkLst>
        </pc:sldLayoutChg>
        <pc:sldLayoutChg chg="del">
          <pc:chgData name="Ibeth Ramos ext" userId="c92aaec2-d59d-47d5-9ea1-90dd33af6c9d" providerId="ADAL" clId="{45C63EE0-9828-449B-8E5D-30A2E69A471A}" dt="2020-10-23T15:53:22.313" v="24" actId="2696"/>
          <pc:sldLayoutMkLst>
            <pc:docMk/>
            <pc:sldMasterMk cId="0" sldId="2147483685"/>
            <pc:sldLayoutMk cId="0" sldId="2147483689"/>
          </pc:sldLayoutMkLst>
        </pc:sldLayoutChg>
        <pc:sldLayoutChg chg="del">
          <pc:chgData name="Ibeth Ramos ext" userId="c92aaec2-d59d-47d5-9ea1-90dd33af6c9d" providerId="ADAL" clId="{45C63EE0-9828-449B-8E5D-30A2E69A471A}" dt="2020-10-23T15:53:22.315" v="25" actId="2696"/>
          <pc:sldLayoutMkLst>
            <pc:docMk/>
            <pc:sldMasterMk cId="0" sldId="2147483685"/>
            <pc:sldLayoutMk cId="0" sldId="2147483690"/>
          </pc:sldLayoutMkLst>
        </pc:sldLayoutChg>
        <pc:sldLayoutChg chg="del">
          <pc:chgData name="Ibeth Ramos ext" userId="c92aaec2-d59d-47d5-9ea1-90dd33af6c9d" providerId="ADAL" clId="{45C63EE0-9828-449B-8E5D-30A2E69A471A}" dt="2020-10-23T15:53:22.317" v="26" actId="2696"/>
          <pc:sldLayoutMkLst>
            <pc:docMk/>
            <pc:sldMasterMk cId="0" sldId="2147483685"/>
            <pc:sldLayoutMk cId="0" sldId="2147483691"/>
          </pc:sldLayoutMkLst>
        </pc:sldLayoutChg>
        <pc:sldLayoutChg chg="del">
          <pc:chgData name="Ibeth Ramos ext" userId="c92aaec2-d59d-47d5-9ea1-90dd33af6c9d" providerId="ADAL" clId="{45C63EE0-9828-449B-8E5D-30A2E69A471A}" dt="2020-10-23T15:53:22.317" v="27" actId="2696"/>
          <pc:sldLayoutMkLst>
            <pc:docMk/>
            <pc:sldMasterMk cId="0" sldId="2147483685"/>
            <pc:sldLayoutMk cId="0" sldId="2147483692"/>
          </pc:sldLayoutMkLst>
        </pc:sldLayoutChg>
        <pc:sldLayoutChg chg="del">
          <pc:chgData name="Ibeth Ramos ext" userId="c92aaec2-d59d-47d5-9ea1-90dd33af6c9d" providerId="ADAL" clId="{45C63EE0-9828-449B-8E5D-30A2E69A471A}" dt="2020-10-23T15:53:22.318" v="28" actId="2696"/>
          <pc:sldLayoutMkLst>
            <pc:docMk/>
            <pc:sldMasterMk cId="0" sldId="2147483685"/>
            <pc:sldLayoutMk cId="0" sldId="2147483693"/>
          </pc:sldLayoutMkLst>
        </pc:sldLayoutChg>
        <pc:sldLayoutChg chg="del">
          <pc:chgData name="Ibeth Ramos ext" userId="c92aaec2-d59d-47d5-9ea1-90dd33af6c9d" providerId="ADAL" clId="{45C63EE0-9828-449B-8E5D-30A2E69A471A}" dt="2020-10-23T15:53:22.319" v="29" actId="2696"/>
          <pc:sldLayoutMkLst>
            <pc:docMk/>
            <pc:sldMasterMk cId="0" sldId="2147483685"/>
            <pc:sldLayoutMk cId="0" sldId="2147483694"/>
          </pc:sldLayoutMkLst>
        </pc:sldLayoutChg>
        <pc:sldLayoutChg chg="del">
          <pc:chgData name="Ibeth Ramos ext" userId="c92aaec2-d59d-47d5-9ea1-90dd33af6c9d" providerId="ADAL" clId="{45C63EE0-9828-449B-8E5D-30A2E69A471A}" dt="2020-10-23T15:53:22.321" v="30" actId="2696"/>
          <pc:sldLayoutMkLst>
            <pc:docMk/>
            <pc:sldMasterMk cId="0" sldId="2147483685"/>
            <pc:sldLayoutMk cId="0" sldId="2147483695"/>
          </pc:sldLayoutMkLst>
        </pc:sldLayoutChg>
        <pc:sldLayoutChg chg="del">
          <pc:chgData name="Ibeth Ramos ext" userId="c92aaec2-d59d-47d5-9ea1-90dd33af6c9d" providerId="ADAL" clId="{45C63EE0-9828-449B-8E5D-30A2E69A471A}" dt="2020-10-23T15:53:22.322" v="31" actId="2696"/>
          <pc:sldLayoutMkLst>
            <pc:docMk/>
            <pc:sldMasterMk cId="0" sldId="2147483685"/>
            <pc:sldLayoutMk cId="0" sldId="2147483696"/>
          </pc:sldLayoutMkLst>
        </pc:sldLayoutChg>
        <pc:sldLayoutChg chg="del">
          <pc:chgData name="Ibeth Ramos ext" userId="c92aaec2-d59d-47d5-9ea1-90dd33af6c9d" providerId="ADAL" clId="{45C63EE0-9828-449B-8E5D-30A2E69A471A}" dt="2020-10-23T15:53:22.323" v="32" actId="2696"/>
          <pc:sldLayoutMkLst>
            <pc:docMk/>
            <pc:sldMasterMk cId="0" sldId="2147483685"/>
            <pc:sldLayoutMk cId="0" sldId="2147483697"/>
          </pc:sldLayoutMkLst>
        </pc:sldLayoutChg>
        <pc:sldLayoutChg chg="del">
          <pc:chgData name="Ibeth Ramos ext" userId="c92aaec2-d59d-47d5-9ea1-90dd33af6c9d" providerId="ADAL" clId="{45C63EE0-9828-449B-8E5D-30A2E69A471A}" dt="2020-10-23T15:53:22.325" v="33" actId="2696"/>
          <pc:sldLayoutMkLst>
            <pc:docMk/>
            <pc:sldMasterMk cId="0" sldId="2147483685"/>
            <pc:sldLayoutMk cId="0" sldId="2147483698"/>
          </pc:sldLayoutMkLst>
        </pc:sldLayoutChg>
        <pc:sldLayoutChg chg="del">
          <pc:chgData name="Ibeth Ramos ext" userId="c92aaec2-d59d-47d5-9ea1-90dd33af6c9d" providerId="ADAL" clId="{45C63EE0-9828-449B-8E5D-30A2E69A471A}" dt="2020-10-23T15:53:22.326" v="34" actId="2696"/>
          <pc:sldLayoutMkLst>
            <pc:docMk/>
            <pc:sldMasterMk cId="0" sldId="2147483685"/>
            <pc:sldLayoutMk cId="0" sldId="2147483699"/>
          </pc:sldLayoutMkLst>
        </pc:sldLayoutChg>
        <pc:sldLayoutChg chg="del">
          <pc:chgData name="Ibeth Ramos ext" userId="c92aaec2-d59d-47d5-9ea1-90dd33af6c9d" providerId="ADAL" clId="{45C63EE0-9828-449B-8E5D-30A2E69A471A}" dt="2020-10-23T15:53:22.327" v="35" actId="2696"/>
          <pc:sldLayoutMkLst>
            <pc:docMk/>
            <pc:sldMasterMk cId="0" sldId="2147483685"/>
            <pc:sldLayoutMk cId="0" sldId="2147483700"/>
          </pc:sldLayoutMkLst>
        </pc:sldLayoutChg>
        <pc:sldLayoutChg chg="del">
          <pc:chgData name="Ibeth Ramos ext" userId="c92aaec2-d59d-47d5-9ea1-90dd33af6c9d" providerId="ADAL" clId="{45C63EE0-9828-449B-8E5D-30A2E69A471A}" dt="2020-10-23T15:53:22.328" v="36" actId="2696"/>
          <pc:sldLayoutMkLst>
            <pc:docMk/>
            <pc:sldMasterMk cId="0" sldId="2147483685"/>
            <pc:sldLayoutMk cId="0" sldId="2147483701"/>
          </pc:sldLayoutMkLst>
        </pc:sldLayoutChg>
        <pc:sldLayoutChg chg="del">
          <pc:chgData name="Ibeth Ramos ext" userId="c92aaec2-d59d-47d5-9ea1-90dd33af6c9d" providerId="ADAL" clId="{45C63EE0-9828-449B-8E5D-30A2E69A471A}" dt="2020-10-23T15:53:22.330" v="37" actId="2696"/>
          <pc:sldLayoutMkLst>
            <pc:docMk/>
            <pc:sldMasterMk cId="0" sldId="2147483685"/>
            <pc:sldLayoutMk cId="0" sldId="2147483702"/>
          </pc:sldLayoutMkLst>
        </pc:sldLayoutChg>
        <pc:sldLayoutChg chg="del">
          <pc:chgData name="Ibeth Ramos ext" userId="c92aaec2-d59d-47d5-9ea1-90dd33af6c9d" providerId="ADAL" clId="{45C63EE0-9828-449B-8E5D-30A2E69A471A}" dt="2020-10-23T15:53:22.331" v="38" actId="2696"/>
          <pc:sldLayoutMkLst>
            <pc:docMk/>
            <pc:sldMasterMk cId="0" sldId="2147483685"/>
            <pc:sldLayoutMk cId="0" sldId="2147483703"/>
          </pc:sldLayoutMkLst>
        </pc:sldLayoutChg>
        <pc:sldLayoutChg chg="del">
          <pc:chgData name="Ibeth Ramos ext" userId="c92aaec2-d59d-47d5-9ea1-90dd33af6c9d" providerId="ADAL" clId="{45C63EE0-9828-449B-8E5D-30A2E69A471A}" dt="2020-10-23T15:53:22.333" v="39" actId="2696"/>
          <pc:sldLayoutMkLst>
            <pc:docMk/>
            <pc:sldMasterMk cId="0" sldId="2147483685"/>
            <pc:sldLayoutMk cId="0" sldId="2147483704"/>
          </pc:sldLayoutMkLst>
        </pc:sldLayoutChg>
        <pc:sldLayoutChg chg="del">
          <pc:chgData name="Ibeth Ramos ext" userId="c92aaec2-d59d-47d5-9ea1-90dd33af6c9d" providerId="ADAL" clId="{45C63EE0-9828-449B-8E5D-30A2E69A471A}" dt="2020-10-23T15:53:22.334" v="40" actId="2696"/>
          <pc:sldLayoutMkLst>
            <pc:docMk/>
            <pc:sldMasterMk cId="0" sldId="2147483685"/>
            <pc:sldLayoutMk cId="0" sldId="2147483705"/>
          </pc:sldLayoutMkLst>
        </pc:sldLayoutChg>
        <pc:sldLayoutChg chg="del">
          <pc:chgData name="Ibeth Ramos ext" userId="c92aaec2-d59d-47d5-9ea1-90dd33af6c9d" providerId="ADAL" clId="{45C63EE0-9828-449B-8E5D-30A2E69A471A}" dt="2020-10-23T15:53:22.336" v="41" actId="2696"/>
          <pc:sldLayoutMkLst>
            <pc:docMk/>
            <pc:sldMasterMk cId="0" sldId="2147483685"/>
            <pc:sldLayoutMk cId="0" sldId="2147483706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" name="Google Shape;778;g87b7afb683_1_20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9" name="Google Shape;779;g87b7afb683_1_2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g87b7afb683_1_100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1" name="Google Shape;981;g87b7afb683_1_10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" name="Google Shape;1063;g87b7afb683_1_108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4" name="Google Shape;1064;g87b7afb683_1_108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" name="Google Shape;1098;g7789513a70_6_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99" name="Google Shape;1099;g7789513a70_6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g87b7afb683_1_95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4" name="Google Shape;1104;g87b7afb683_1_9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" name="Google Shape;1151;g87b7afb683_1_15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2" name="Google Shape;1152;g87b7afb683_1_15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" name="Google Shape;1172;g87b7afb683_1_157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3" name="Google Shape;1173;g87b7afb683_1_15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" name="Google Shape;119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2" name="Google Shape;1192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" name="Google Shape;830;g87b7afb683_0_2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31" name="Google Shape;831;g87b7afb683_0_2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Google Shape;876;g87b7afb683_1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7" name="Google Shape;877;g87b7afb683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93" name="Google Shape;89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g7789513a70_0_102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00" name="Google Shape;900;g7789513a70_0_10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" name="Google Shape;906;g87b7afb683_1_48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g87b7afb683_1_4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" name="Google Shape;939;g87b7afb683_0_4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0" name="Google Shape;940;g87b7afb683_0_47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41" name="Google Shape;941;g87b7afb683_0_47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7" name="Google Shape;957;g87b7afb683_0_5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58" name="Google Shape;958;g87b7afb683_0_50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eeds logo</a:t>
            </a:r>
            <a:endParaRPr/>
          </a:p>
        </p:txBody>
      </p:sp>
      <p:sp>
        <p:nvSpPr>
          <p:cNvPr id="959" name="Google Shape;959;g87b7afb683_0_50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g7789513a70_4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76" name="Google Shape;976;g7789513a70_4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g7789513a70_0_103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g7789513a70_0_109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g7789513a70_0_1093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Only">
  <p:cSld name="5_Title Only">
    <p:bg>
      <p:bgPr>
        <a:solidFill>
          <a:schemeClr val="accent6"/>
        </a:solidFill>
        <a:effectLst/>
      </p:bgPr>
    </p:bg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g7789513a70_0_1096"/>
          <p:cNvSpPr/>
          <p:nvPr/>
        </p:nvSpPr>
        <p:spPr>
          <a:xfrm flipH="1">
            <a:off x="0" y="-1"/>
            <a:ext cx="6096000" cy="6875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77;g7789513a70_0_109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g7789513a70_0_109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g7789513a70_0_109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g7789513a70_0_109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1" name="Google Shape;81;g7789513a70_0_1096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82" name="Google Shape;82;g7789513a70_0_1096"/>
          <p:cNvPicPr preferRelativeResize="0"/>
          <p:nvPr/>
        </p:nvPicPr>
        <p:blipFill rotWithShape="1">
          <a:blip r:embed="rId2">
            <a:alphaModFix/>
          </a:blip>
          <a:srcRect r="18915" b="17728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bg>
      <p:bgPr>
        <a:solidFill>
          <a:schemeClr val="accent6"/>
        </a:solid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g7789513a70_0_1104"/>
          <p:cNvSpPr/>
          <p:nvPr/>
        </p:nvSpPr>
        <p:spPr>
          <a:xfrm>
            <a:off x="6096000" y="-1"/>
            <a:ext cx="6096000" cy="6875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85;g7789513a70_0_110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g7789513a70_0_11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g7789513a70_0_11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g7789513a70_0_11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9" name="Google Shape;89;g7789513a70_0_1104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90" name="Google Shape;90;g7789513a70_0_1104"/>
          <p:cNvPicPr preferRelativeResize="0"/>
          <p:nvPr/>
        </p:nvPicPr>
        <p:blipFill rotWithShape="1">
          <a:blip r:embed="rId2">
            <a:alphaModFix/>
          </a:blip>
          <a:srcRect r="19086" b="17795"/>
          <a:stretch/>
        </p:blipFill>
        <p:spPr>
          <a:xfrm>
            <a:off x="4850296" y="5614834"/>
            <a:ext cx="1245704" cy="126057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6"/>
        </a:solid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7789513a70_0_111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" name="Google Shape;93;g7789513a70_0_111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g7789513a70_0_111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g7789513a70_0_11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g7789513a70_0_111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7" name="Google Shape;97;g7789513a70_0_1112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6"/>
        </a:solid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g7789513a70_0_1119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" name="Google Shape;100;g7789513a70_0_111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g7789513a70_0_111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g7789513a70_0_11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g7789513a70_0_111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4" name="Google Shape;104;g7789513a70_0_1119"/>
          <p:cNvPicPr preferRelativeResize="0"/>
          <p:nvPr/>
        </p:nvPicPr>
        <p:blipFill rotWithShape="1">
          <a:blip r:embed="rId2">
            <a:alphaModFix/>
          </a:blip>
          <a:srcRect r="18915" b="17728"/>
          <a:stretch/>
        </p:blipFill>
        <p:spPr>
          <a:xfrm>
            <a:off x="10961785" y="5615609"/>
            <a:ext cx="1230216" cy="12423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g7789513a70_0_112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g7789513a70_0_112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8" name="Google Shape;108;g7789513a70_0_1126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09" name="Google Shape;109;g7789513a70_0_112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g7789513a70_0_11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g7789513a70_0_112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g7789513a70_0_113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g7789513a70_0_1133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5" name="Google Shape;115;g7789513a70_0_1133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16" name="Google Shape;116;g7789513a70_0_113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g7789513a70_0_113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g7789513a70_0_113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7789513a70_0_114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g7789513a70_0_1140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g7789513a70_0_114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g7789513a70_0_11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g7789513a70_0_114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g7789513a70_0_1146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g7789513a70_0_1146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g7789513a70_0_114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g7789513a70_0_11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g7789513a70_0_114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 type="titleOnly">
  <p:cSld name="TITLE_ONLY">
    <p:bg>
      <p:bgPr>
        <a:solidFill>
          <a:schemeClr val="accent6"/>
        </a:solidFill>
        <a:effectLst/>
      </p:bgPr>
    </p:bg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Google Shape;397;p23"/>
          <p:cNvSpPr/>
          <p:nvPr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8" name="Google Shape;398;p2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9" name="Google Shape;399;p2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" name="Google Shape;400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1" name="Google Shape;401;p2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 type="titleOnly">
  <p:cSld name="TITLE_ONLY">
    <p:bg>
      <p:bgPr>
        <a:solidFill>
          <a:schemeClr val="accent6"/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7789513a70_0_1040"/>
          <p:cNvSpPr/>
          <p:nvPr/>
        </p:nvSpPr>
        <p:spPr>
          <a:xfrm flipH="1">
            <a:off x="0" y="-1"/>
            <a:ext cx="6096000" cy="6875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21;g7789513a70_0_104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g7789513a70_0_104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g7789513a70_0_10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g7789513a70_0_104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2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bg>
      <p:bgPr>
        <a:solidFill>
          <a:schemeClr val="accent6"/>
        </a:solidFill>
        <a:effectLst/>
      </p:bgPr>
    </p:bg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25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" name="Google Shape;412;p2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3" name="Google Shape;413;p2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" name="Google Shape;414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" name="Google Shape;415;p2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6" name="Google Shape;416;p25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417" name="Google Shape;417;p25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0" name="Google Shape;420;p4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1" name="Google Shape;421;p4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" name="Google Shape;422;p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" name="Google Shape;423;p4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47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" name="Google Shape;426;p47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27" name="Google Shape;427;p4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8" name="Google Shape;428;p4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" name="Google Shape;429;p4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p4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2" name="Google Shape;432;p4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3" name="Google Shape;433;p48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4" name="Google Shape;434;p4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" name="Google Shape;435;p4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" name="Google Shape;436;p4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49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9" name="Google Shape;439;p49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0" name="Google Shape;440;p49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1" name="Google Shape;441;p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2" name="Google Shape;442;p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3" name="Google Shape;443;p4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4" name="Google Shape;444;p4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5" name="Google Shape;445;p4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" name="Google Shape;447;p5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5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" name="Google Shape;449;p5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" name="Google Shape;450;p5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5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3" name="Google Shape;453;p51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Only">
  <p:cSld name="5_Title Only">
    <p:bg>
      <p:bgPr>
        <a:solidFill>
          <a:schemeClr val="accent6"/>
        </a:solidFill>
        <a:effectLst/>
      </p:bgPr>
    </p:bg>
    <p:spTree>
      <p:nvGrpSpPr>
        <p:cNvPr id="1" name="Shape 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Google Shape;455;p52"/>
          <p:cNvSpPr/>
          <p:nvPr/>
        </p:nvSpPr>
        <p:spPr>
          <a:xfrm flipH="1">
            <a:off x="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6" name="Google Shape;456;p5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" name="Google Shape;457;p5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5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9" name="Google Shape;459;p5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0" name="Google Shape;460;p52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461" name="Google Shape;461;p52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4860235" y="5610004"/>
            <a:ext cx="1235765" cy="124799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bg>
      <p:bgPr>
        <a:solidFill>
          <a:schemeClr val="accent6"/>
        </a:solidFill>
        <a:effectLst/>
      </p:bgPr>
    </p:bg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p53"/>
          <p:cNvSpPr/>
          <p:nvPr/>
        </p:nvSpPr>
        <p:spPr>
          <a:xfrm>
            <a:off x="6096000" y="-1"/>
            <a:ext cx="6096000" cy="68754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4" name="Google Shape;464;p5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5" name="Google Shape;465;p5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" name="Google Shape;466;p5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" name="Google Shape;467;p5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8" name="Google Shape;468;p53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469" name="Google Shape;469;p53"/>
          <p:cNvPicPr preferRelativeResize="0"/>
          <p:nvPr/>
        </p:nvPicPr>
        <p:blipFill rotWithShape="1">
          <a:blip r:embed="rId2">
            <a:alphaModFix/>
          </a:blip>
          <a:srcRect r="19085" b="17797"/>
          <a:stretch/>
        </p:blipFill>
        <p:spPr>
          <a:xfrm>
            <a:off x="4850296" y="5614834"/>
            <a:ext cx="1245704" cy="126057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bg>
      <p:bgPr>
        <a:solidFill>
          <a:schemeClr val="accent6"/>
        </a:solid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g7789513a70_0_1046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g7789513a70_0_104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g7789513a70_0_104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g7789513a70_0_10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g7789513a70_0_104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" name="Google Shape;31;g7789513a70_0_1046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32" name="Google Shape;32;g7789513a70_0_1046"/>
          <p:cNvPicPr preferRelativeResize="0"/>
          <p:nvPr/>
        </p:nvPicPr>
        <p:blipFill rotWithShape="1">
          <a:blip r:embed="rId2">
            <a:alphaModFix/>
          </a:blip>
          <a:srcRect r="18915" b="17728"/>
          <a:stretch/>
        </p:blipFill>
        <p:spPr>
          <a:xfrm>
            <a:off x="10961785" y="5615609"/>
            <a:ext cx="1230216" cy="12423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6"/>
        </a:solidFill>
        <a:effectLst/>
      </p:bgPr>
    </p:bg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54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2" name="Google Shape;472;p5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3" name="Google Shape;473;p5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" name="Google Shape;474;p5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5" name="Google Shape;475;p5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76" name="Google Shape;476;p54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6"/>
        </a:solidFill>
        <a:effectLst/>
      </p:bgPr>
    </p:bg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p55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9" name="Google Shape;479;p5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" name="Google Shape;480;p5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" name="Google Shape;481;p5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" name="Google Shape;482;p5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83" name="Google Shape;483;p55"/>
          <p:cNvPicPr preferRelativeResize="0"/>
          <p:nvPr/>
        </p:nvPicPr>
        <p:blipFill rotWithShape="1">
          <a:blip r:embed="rId2">
            <a:alphaModFix/>
          </a:blip>
          <a:srcRect r="18915" b="17725"/>
          <a:stretch/>
        </p:blipFill>
        <p:spPr>
          <a:xfrm>
            <a:off x="10961785" y="5615609"/>
            <a:ext cx="1230215" cy="124239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Google Shape;485;p5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6" name="Google Shape;486;p5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87" name="Google Shape;487;p56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488" name="Google Shape;488;p5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p5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0" name="Google Shape;490;p5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Google Shape;492;p5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" name="Google Shape;493;p57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4" name="Google Shape;494;p57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495" name="Google Shape;495;p5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5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7" name="Google Shape;497;p5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Google Shape;499;p5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0" name="Google Shape;500;p58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1" name="Google Shape;501;p5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" name="Google Shape;502;p5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3" name="Google Shape;503;p5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p59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" name="Google Shape;506;p59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7" name="Google Shape;507;p5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9" name="Google Shape;509;p5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87b7afb683_1_159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" name="Google Shape;520;g87b7afb683_1_159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" name="Google Shape;521;g87b7afb683_1_159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g87b7afb683_1_159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g87b7afb683_1_159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 b="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g87b7afb683_1_159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6" name="Google Shape;526;g87b7afb683_1_159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g87b7afb683_1_159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g87b7afb683_1_159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Google Shape;530;g87b7afb683_1_160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g87b7afb683_1_160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" name="Google Shape;532;g87b7afb683_1_16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3" name="Google Shape;533;g87b7afb683_1_16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" name="Google Shape;534;g87b7afb683_1_16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g87b7afb683_1_1610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entury Gothic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" name="Google Shape;537;g87b7afb683_1_1610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38" name="Google Shape;538;g87b7afb683_1_161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g87b7afb683_1_16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" name="Google Shape;540;g87b7afb683_1_161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g7789513a70_0_105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g7789513a70_0_105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6" name="Google Shape;36;g7789513a70_0_105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g7789513a70_0_105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g7789513a70_0_105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Google Shape;542;g87b7afb683_1_161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" name="Google Shape;543;g87b7afb683_1_16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4" name="Google Shape;544;g87b7afb683_1_16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g87b7afb683_1_161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" name="Google Shape;546;g87b7afb683_1_16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" name="Google Shape;547;g87b7afb683_1_161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g87b7afb683_1_1623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" name="Google Shape;550;g87b7afb683_1_1623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1" name="Google Shape;551;g87b7afb683_1_1623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2" name="Google Shape;552;g87b7afb683_1_16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3" name="Google Shape;553;g87b7afb683_1_16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" name="Google Shape;554;g87b7afb683_1_162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" name="Google Shape;555;g87b7afb683_1_16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g87b7afb683_1_162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Google Shape;558;g87b7afb683_1_163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87b7afb683_1_163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1" name="Google Shape;561;g87b7afb683_1_1634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bg>
      <p:bgPr>
        <a:solidFill>
          <a:schemeClr val="accent3"/>
        </a:solidFill>
        <a:effectLst/>
      </p:bgPr>
    </p:bg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87b7afb683_1_1637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4" name="Google Shape;564;g87b7afb683_1_163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g87b7afb683_1_163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g87b7afb683_1_16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" name="Google Shape;567;g87b7afb683_1_163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9_Title Only">
  <p:cSld name="9_Title Only">
    <p:bg>
      <p:bgPr>
        <a:solidFill>
          <a:schemeClr val="accent3"/>
        </a:solidFill>
        <a:effectLst/>
      </p:bgPr>
    </p:bg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g87b7afb683_1_164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" name="Google Shape;570;g87b7afb683_1_164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" name="Google Shape;571;g87b7afb683_1_1643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72" name="Google Shape;572;g87b7afb683_1_164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" name="Google Shape;573;g87b7afb683_1_164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g87b7afb683_1_164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75" name="Google Shape;575;g87b7afb683_1_1643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Title Only">
  <p:cSld name="6_Title Only">
    <p:bg>
      <p:bgPr>
        <a:solidFill>
          <a:schemeClr val="accent3"/>
        </a:solidFill>
        <a:effectLst/>
      </p:bgPr>
    </p:bg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g87b7afb683_1_165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g87b7afb683_1_165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g87b7afb683_1_1651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0" name="Google Shape;580;g87b7afb683_1_1651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g87b7afb683_1_165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g87b7afb683_1_16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" name="Google Shape;583;g87b7afb683_1_165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Only">
  <p:cSld name="2_Title Only">
    <p:bg>
      <p:bgPr>
        <a:solidFill>
          <a:schemeClr val="accent3"/>
        </a:solidFill>
        <a:effectLst/>
      </p:bgPr>
    </p:bg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g87b7afb683_1_1659"/>
          <p:cNvSpPr/>
          <p:nvPr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" name="Google Shape;586;g87b7afb683_1_165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" name="Google Shape;587;g87b7afb683_1_165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88" name="Google Shape;588;g87b7afb683_1_165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89" name="Google Shape;589;g87b7afb683_1_165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" name="Google Shape;590;g87b7afb683_1_16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" name="Google Shape;591;g87b7afb683_1_165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_Title Only">
  <p:cSld name="7_Title Only">
    <p:bg>
      <p:bgPr>
        <a:solidFill>
          <a:schemeClr val="accent3"/>
        </a:solidFill>
        <a:effectLst/>
      </p:bgPr>
    </p:bg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g87b7afb683_1_1667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4" name="Google Shape;594;g87b7afb683_1_166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" name="Google Shape;595;g87b7afb683_1_1667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96" name="Google Shape;596;g87b7afb683_1_1667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  <p:sp>
        <p:nvSpPr>
          <p:cNvPr id="597" name="Google Shape;597;g87b7afb683_1_166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" name="Google Shape;598;g87b7afb683_1_166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g87b7afb683_1_166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bg>
      <p:bgPr>
        <a:solidFill>
          <a:schemeClr val="accent3"/>
        </a:solidFill>
        <a:effectLst/>
      </p:bgPr>
    </p:bg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g87b7afb683_1_1675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g87b7afb683_1_167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g87b7afb683_1_167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g87b7afb683_1_167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g87b7afb683_1_167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06" name="Google Shape;606;g87b7afb683_1_167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g7789513a70_0_106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g7789513a70_0_106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g7789513a70_0_106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g7789513a70_0_106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g7789513a70_0_106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3"/>
        </a:solidFill>
        <a:effectLst/>
      </p:bgPr>
    </p:bg>
    <p:spTree>
      <p:nvGrpSpPr>
        <p:cNvPr id="1" name="Shape 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Google Shape;608;g87b7afb683_1_168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9" name="Google Shape;609;g87b7afb683_1_168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" name="Google Shape;610;g87b7afb683_1_168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" name="Google Shape;611;g87b7afb683_1_168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" name="Google Shape;612;g87b7afb683_1_168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13" name="Google Shape;613;g87b7afb683_1_1682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bg>
      <p:bgPr>
        <a:solidFill>
          <a:schemeClr val="accent3"/>
        </a:solidFill>
        <a:effectLst/>
      </p:bgPr>
    </p:bg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g87b7afb683_1_1689"/>
          <p:cNvSpPr/>
          <p:nvPr/>
        </p:nvSpPr>
        <p:spPr>
          <a:xfrm rot="10800000" flipH="1"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6" name="Google Shape;616;g87b7afb683_1_168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" name="Google Shape;617;g87b7afb683_1_168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g87b7afb683_1_168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g87b7afb683_1_168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20" name="Google Shape;620;g87b7afb683_1_1689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621" name="Google Shape;621;g87b7afb683_1_168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3"/>
        </a:solidFill>
        <a:effectLst/>
      </p:bgPr>
    </p:bg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g87b7afb683_1_1697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g87b7afb683_1_169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g87b7afb683_1_169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" name="Google Shape;626;g87b7afb683_1_169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" name="Google Shape;627;g87b7afb683_1_169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28" name="Google Shape;628;g87b7afb683_1_1697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g87b7afb683_1_170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" name="Google Shape;631;g87b7afb683_1_1704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32" name="Google Shape;632;g87b7afb683_1_1704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33" name="Google Shape;633;g87b7afb683_1_17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4" name="Google Shape;634;g87b7afb683_1_17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" name="Google Shape;635;g87b7afb683_1_17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Google Shape;637;g87b7afb683_1_17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g87b7afb683_1_171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9" name="Google Shape;639;g87b7afb683_1_171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40" name="Google Shape;640;g87b7afb683_1_171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g87b7afb683_1_17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g87b7afb683_1_171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g87b7afb683_1_171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" name="Google Shape;645;g87b7afb683_1_1718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g87b7afb683_1_171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g87b7afb683_1_17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" name="Google Shape;648;g87b7afb683_1_171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Google Shape;650;g87b7afb683_1_1724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1" name="Google Shape;651;g87b7afb683_1_1724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" name="Google Shape;652;g87b7afb683_1_172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3" name="Google Shape;653;g87b7afb683_1_17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4" name="Google Shape;654;g87b7afb683_1_172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Google Shape;664;g87b7afb683_1_173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Only" type="titleOnly">
  <p:cSld name="TITLE_ONLY">
    <p:bg>
      <p:bgPr>
        <a:solidFill>
          <a:schemeClr val="accent6"/>
        </a:solidFill>
        <a:effectLst/>
      </p:bgPr>
    </p:bg>
    <p:spTree>
      <p:nvGrpSpPr>
        <p:cNvPr id="1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" name="Google Shape;666;g87b7afb683_1_1740"/>
          <p:cNvSpPr/>
          <p:nvPr/>
        </p:nvSpPr>
        <p:spPr>
          <a:xfrm flipH="1">
            <a:off x="0" y="-1"/>
            <a:ext cx="6096000" cy="6875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7" name="Google Shape;667;g87b7afb683_1_174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" name="Google Shape;668;g87b7afb683_1_174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9" name="Google Shape;669;g87b7afb683_1_17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0" name="Google Shape;670;g87b7afb683_1_174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g87b7afb683_1_174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3" name="Google Shape;673;g87b7afb683_1_174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4" name="Google Shape;674;g87b7afb683_1_17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5" name="Google Shape;675;g87b7afb683_1_174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7789513a70_0_106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g7789513a70_0_106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g7789513a70_0_106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g7789513a70_0_106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g7789513a70_0_106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bg>
      <p:bgPr>
        <a:solidFill>
          <a:schemeClr val="accent6"/>
        </a:solidFill>
        <a:effectLst/>
      </p:bgPr>
    </p:bg>
    <p:spTree>
      <p:nvGrpSpPr>
        <p:cNvPr id="1" name="Shape 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7" name="Google Shape;677;g87b7afb683_1_175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8" name="Google Shape;678;g87b7afb683_1_1751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9" name="Google Shape;679;g87b7afb683_1_175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g87b7afb683_1_17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1" name="Google Shape;681;g87b7afb683_1_175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82" name="Google Shape;682;g87b7afb683_1_1751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683" name="Google Shape;683;g87b7afb683_1_1751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10961785" y="5615609"/>
            <a:ext cx="1230216" cy="12423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g87b7afb683_1_1759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g87b7afb683_1_1759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/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7" name="Google Shape;687;g87b7afb683_1_175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8" name="Google Shape;688;g87b7afb683_1_17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9" name="Google Shape;689;g87b7afb683_1_175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g87b7afb683_1_176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2" name="Google Shape;692;g87b7afb683_1_176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g87b7afb683_1_176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4" name="Google Shape;694;g87b7afb683_1_176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g87b7afb683_1_176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Google Shape;697;g87b7afb683_1_1771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Century Gothic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8" name="Google Shape;698;g87b7afb683_1_1771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99" name="Google Shape;699;g87b7afb683_1_1771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" name="Google Shape;700;g87b7afb683_1_177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1" name="Google Shape;701;g87b7afb683_1_1771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g87b7afb683_1_1777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" name="Google Shape;704;g87b7afb683_1_177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g87b7afb683_1_177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6" name="Google Shape;706;g87b7afb683_1_1777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7" name="Google Shape;707;g87b7afb683_1_177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g87b7afb683_1_1777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87b7afb683_1_1784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1" name="Google Shape;711;g87b7afb683_1_1784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2" name="Google Shape;712;g87b7afb683_1_1784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" name="Google Shape;713;g87b7afb683_1_178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4" name="Google Shape;714;g87b7afb683_1_178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5" name="Google Shape;715;g87b7afb683_1_178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" name="Google Shape;716;g87b7afb683_1_178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g87b7afb683_1_178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ustom Layout">
  <p:cSld name="1_Custom Layout">
    <p:spTree>
      <p:nvGrpSpPr>
        <p:cNvPr id="1" name="Shape 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" name="Google Shape;719;g87b7afb683_1_1793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g87b7afb683_1_1793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Only">
  <p:cSld name="5_Title Only">
    <p:bg>
      <p:bgPr>
        <a:solidFill>
          <a:schemeClr val="accent6"/>
        </a:solidFill>
        <a:effectLst/>
      </p:bgPr>
    </p:bg>
    <p:spTree>
      <p:nvGrpSpPr>
        <p:cNvPr id="1" name="Shape 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" name="Google Shape;722;g87b7afb683_1_1796"/>
          <p:cNvSpPr/>
          <p:nvPr/>
        </p:nvSpPr>
        <p:spPr>
          <a:xfrm flipH="1">
            <a:off x="0" y="-1"/>
            <a:ext cx="6096000" cy="6875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3" name="Google Shape;723;g87b7afb683_1_1796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4" name="Google Shape;724;g87b7afb683_1_179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5" name="Google Shape;725;g87b7afb683_1_179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6" name="Google Shape;726;g87b7afb683_1_179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27" name="Google Shape;727;g87b7afb683_1_1796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728" name="Google Shape;728;g87b7afb683_1_1796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4860235" y="5610004"/>
            <a:ext cx="1235765" cy="12479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bg>
      <p:bgPr>
        <a:solidFill>
          <a:schemeClr val="accent6"/>
        </a:solidFill>
        <a:effectLst/>
      </p:bgPr>
    </p:bg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g87b7afb683_1_1804"/>
          <p:cNvSpPr/>
          <p:nvPr/>
        </p:nvSpPr>
        <p:spPr>
          <a:xfrm>
            <a:off x="6096000" y="-1"/>
            <a:ext cx="6096000" cy="6875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1" name="Google Shape;731;g87b7afb683_1_180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2" name="Google Shape;732;g87b7afb683_1_1804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g87b7afb683_1_180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4" name="Google Shape;734;g87b7afb683_1_1804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35" name="Google Shape;735;g87b7afb683_1_1804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736" name="Google Shape;736;g87b7afb683_1_1804"/>
          <p:cNvPicPr preferRelativeResize="0"/>
          <p:nvPr/>
        </p:nvPicPr>
        <p:blipFill rotWithShape="1">
          <a:blip r:embed="rId2">
            <a:alphaModFix/>
          </a:blip>
          <a:srcRect r="19087" b="17796"/>
          <a:stretch/>
        </p:blipFill>
        <p:spPr>
          <a:xfrm>
            <a:off x="4850296" y="5614834"/>
            <a:ext cx="1245704" cy="126057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bg>
      <p:bgPr>
        <a:solidFill>
          <a:schemeClr val="accent6"/>
        </a:solidFill>
        <a:effectLst/>
      </p:bgPr>
    </p:bg>
    <p:spTree>
      <p:nvGrpSpPr>
        <p:cNvPr id="1" name="Shape 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Google Shape;738;g87b7afb683_1_1812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9" name="Google Shape;739;g87b7afb683_1_181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" name="Google Shape;740;g87b7afb683_1_181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g87b7afb683_1_18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2" name="Google Shape;742;g87b7afb683_1_181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3" name="Google Shape;743;g87b7afb683_1_1812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g7789513a70_0_107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g7789513a70_0_107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g7789513a70_0_1072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g7789513a70_0_1072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g7789513a70_0_107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g7789513a70_0_1072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bg>
      <p:bgPr>
        <a:solidFill>
          <a:schemeClr val="accent6"/>
        </a:solidFill>
        <a:effectLst/>
      </p:bgPr>
    </p:bg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g87b7afb683_1_1819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" name="Google Shape;746;g87b7afb683_1_181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" name="Google Shape;747;g87b7afb683_1_181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" name="Google Shape;748;g87b7afb683_1_18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9" name="Google Shape;749;g87b7afb683_1_181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750" name="Google Shape;750;g87b7afb683_1_1819"/>
          <p:cNvPicPr preferRelativeResize="0"/>
          <p:nvPr/>
        </p:nvPicPr>
        <p:blipFill rotWithShape="1">
          <a:blip r:embed="rId2">
            <a:alphaModFix/>
          </a:blip>
          <a:srcRect r="18916" b="17729"/>
          <a:stretch/>
        </p:blipFill>
        <p:spPr>
          <a:xfrm>
            <a:off x="10961785" y="5615609"/>
            <a:ext cx="1230216" cy="12423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" name="Google Shape;752;g87b7afb683_1_182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" name="Google Shape;753;g87b7afb683_1_182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Char char="•"/>
              <a:defRPr sz="3200"/>
            </a:lvl1pPr>
            <a:lvl2pPr marL="91440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Char char="•"/>
              <a:defRPr sz="2800"/>
            </a:lvl2pPr>
            <a:lvl3pPr marL="137160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 sz="2400"/>
            </a:lvl3pPr>
            <a:lvl4pPr marL="182880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4pPr>
            <a:lvl5pPr marL="228600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 sz="2000"/>
            </a:lvl5pPr>
            <a:lvl6pPr marL="274320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754" name="Google Shape;754;g87b7afb683_1_1826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55" name="Google Shape;755;g87b7afb683_1_182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g87b7afb683_1_18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7" name="Google Shape;757;g87b7afb683_1_182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7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" name="Google Shape;759;g87b7afb683_1_183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entury Gothic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0" name="Google Shape;760;g87b7afb683_1_1833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1" name="Google Shape;761;g87b7afb683_1_1833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62" name="Google Shape;762;g87b7afb683_1_1833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" name="Google Shape;763;g87b7afb683_1_183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4" name="Google Shape;764;g87b7afb683_1_1833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Google Shape;766;g87b7afb683_1_184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7" name="Google Shape;767;g87b7afb683_1_1840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8" name="Google Shape;768;g87b7afb683_1_184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9" name="Google Shape;769;g87b7afb683_1_18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" name="Google Shape;770;g87b7afb683_1_184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Google Shape;772;g87b7afb683_1_1846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g87b7afb683_1_1846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" name="Google Shape;774;g87b7afb683_1_1846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" name="Google Shape;775;g87b7afb683_1_18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" name="Google Shape;776;g87b7afb683_1_1846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g7789513a70_0_1079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g7789513a70_0_1079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" name="Google Shape;61;g7789513a70_0_1079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g7789513a70_0_10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3" name="Google Shape;63;g7789513a70_0_10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g7789513a70_0_107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g7789513a70_0_107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g7789513a70_0_107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7789513a70_0_108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g7789513a70_0_1088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g7789513a70_0_108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g7789513a70_0_1088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8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heme" Target="../theme/theme3.xml"/><Relationship Id="rId27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9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vmlDrawing" Target="../drawings/vmlDrawing4.v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6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B2847D-C471-450C-A260-3F55D67AD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7878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2" imgW="415" imgH="416" progId="TCLayout.ActiveDocument.1">
                  <p:embed/>
                </p:oleObj>
              </mc:Choice>
              <mc:Fallback>
                <p:oleObj name="think-cell Slide" r:id="rId22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BB2847D-C471-450C-A260-3F55D67AD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g7789513a70_0_103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g7789513a70_0_103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g7789513a70_0_103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g7789513a70_0_10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g7789513a70_0_103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" name="Google Shape;15;g7789513a70_0_1030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6" name="Google Shape;16;g7789513a70_0_1030"/>
          <p:cNvPicPr preferRelativeResize="0"/>
          <p:nvPr/>
        </p:nvPicPr>
        <p:blipFill rotWithShape="1">
          <a:blip r:embed="rId24">
            <a:alphaModFix/>
          </a:blip>
          <a:srcRect r="19086" b="17795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8DDE9E-A715-4245-9BB6-EAC83E33AA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790327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1" imgW="415" imgH="416" progId="TCLayout.ActiveDocument.1">
                  <p:embed/>
                </p:oleObj>
              </mc:Choice>
              <mc:Fallback>
                <p:oleObj name="think-cell Slide" r:id="rId21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8DDE9E-A715-4245-9BB6-EAC83E33A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" name="Google Shape;389;p1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0" name="Google Shape;390;p1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1" name="Google Shape;391;p19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2" name="Google Shape;39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3" name="Google Shape;393;p19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4" name="Google Shape;394;p19"/>
          <p:cNvSpPr txBox="1"/>
          <p:nvPr/>
        </p:nvSpPr>
        <p:spPr>
          <a:xfrm rot="5400000">
            <a:off x="11178259" y="975642"/>
            <a:ext cx="126477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395" name="Google Shape;395;p19"/>
          <p:cNvPicPr preferRelativeResize="0"/>
          <p:nvPr/>
        </p:nvPicPr>
        <p:blipFill rotWithShape="1">
          <a:blip r:embed="rId23">
            <a:alphaModFix/>
          </a:blip>
          <a:srcRect r="19085" b="17797"/>
          <a:stretch/>
        </p:blipFill>
        <p:spPr>
          <a:xfrm>
            <a:off x="10960764" y="5615608"/>
            <a:ext cx="1244939" cy="1259797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6C6A04-0C3C-4B08-9639-24FBE20E6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189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6C6A04-0C3C-4B08-9639-24FBE20E6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1" name="Google Shape;511;g87b7afb683_1_158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2" name="Google Shape;512;g87b7afb683_1_158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3" name="Google Shape;513;g87b7afb683_1_1585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4" name="Google Shape;514;g87b7afb683_1_158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5" name="Google Shape;515;g87b7afb683_1_1585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6" name="Google Shape;516;g87b7afb683_1_1585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17" name="Google Shape;517;g87b7afb683_1_1585"/>
          <p:cNvPicPr preferRelativeResize="0"/>
          <p:nvPr/>
        </p:nvPicPr>
        <p:blipFill rotWithShape="1">
          <a:blip r:embed="rId27">
            <a:alphaModFix/>
          </a:blip>
          <a:srcRect r="18916" b="17729"/>
          <a:stretch/>
        </p:blipFill>
        <p:spPr>
          <a:xfrm>
            <a:off x="10958513" y="5612304"/>
            <a:ext cx="1233486" cy="1245695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6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E40F887-E1FB-48EB-BE49-2E83F22F9A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4658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22" imgW="415" imgH="416" progId="TCLayout.ActiveDocument.1">
                  <p:embed/>
                </p:oleObj>
              </mc:Choice>
              <mc:Fallback>
                <p:oleObj name="think-cell Slide" r:id="rId22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E40F887-E1FB-48EB-BE49-2E83F22F9A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6" name="Google Shape;656;g87b7afb683_1_1730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57" name="Google Shape;657;g87b7afb683_1_173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8" name="Google Shape;658;g87b7afb683_1_1730"/>
          <p:cNvSpPr txBox="1">
            <a:spLocks noGrp="1"/>
          </p:cNvSpPr>
          <p:nvPr>
            <p:ph type="dt" idx="10"/>
          </p:nvPr>
        </p:nvSpPr>
        <p:spPr>
          <a:xfrm>
            <a:off x="442913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0000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9" name="Google Shape;659;g87b7afb683_1_17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0000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0" name="Google Shape;660;g87b7afb683_1_1730"/>
          <p:cNvSpPr txBox="1">
            <a:spLocks noGrp="1"/>
          </p:cNvSpPr>
          <p:nvPr>
            <p:ph type="sldNum" idx="12"/>
          </p:nvPr>
        </p:nvSpPr>
        <p:spPr>
          <a:xfrm>
            <a:off x="11640301" y="3180013"/>
            <a:ext cx="395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61" name="Google Shape;661;g87b7afb683_1_1730"/>
          <p:cNvSpPr txBox="1"/>
          <p:nvPr/>
        </p:nvSpPr>
        <p:spPr>
          <a:xfrm rot="5400000">
            <a:off x="11178299" y="975713"/>
            <a:ext cx="1264800" cy="12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© COOKHOUSE LABS </a:t>
            </a:r>
            <a:r>
              <a:rPr lang="en-US" sz="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20</a:t>
            </a:r>
            <a:endParaRPr sz="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662" name="Google Shape;662;g87b7afb683_1_1730"/>
          <p:cNvPicPr preferRelativeResize="0"/>
          <p:nvPr/>
        </p:nvPicPr>
        <p:blipFill rotWithShape="1">
          <a:blip r:embed="rId24">
            <a:alphaModFix/>
          </a:blip>
          <a:srcRect r="19087" b="17796"/>
          <a:stretch/>
        </p:blipFill>
        <p:spPr>
          <a:xfrm>
            <a:off x="10960764" y="5615608"/>
            <a:ext cx="1244940" cy="1259797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pos="279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6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5.jp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1" name="Google Shape;781;g87b7afb683_1_20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01736" y="780376"/>
            <a:ext cx="7288578" cy="5452524"/>
          </a:xfrm>
          <a:prstGeom prst="rect">
            <a:avLst/>
          </a:prstGeom>
          <a:noFill/>
          <a:ln>
            <a:noFill/>
          </a:ln>
        </p:spPr>
      </p:pic>
      <p:sp>
        <p:nvSpPr>
          <p:cNvPr id="782" name="Google Shape;782;g87b7afb683_1_206"/>
          <p:cNvSpPr txBox="1"/>
          <p:nvPr/>
        </p:nvSpPr>
        <p:spPr>
          <a:xfrm>
            <a:off x="442912" y="902825"/>
            <a:ext cx="5977800" cy="42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llaborating with InsurTech Startups</a:t>
            </a:r>
            <a:endParaRPr sz="6600" b="1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83" name="Google Shape;783;g87b7afb683_1_206"/>
          <p:cNvSpPr txBox="1"/>
          <p:nvPr/>
        </p:nvSpPr>
        <p:spPr>
          <a:xfrm>
            <a:off x="442913" y="5694743"/>
            <a:ext cx="3711600" cy="37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ay 29, 2020</a:t>
            </a:r>
            <a:endParaRPr sz="18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" name="Google Shape;978;g7789513a70_4_0"/>
          <p:cNvSpPr txBox="1"/>
          <p:nvPr/>
        </p:nvSpPr>
        <p:spPr>
          <a:xfrm>
            <a:off x="1" y="2530500"/>
            <a:ext cx="10575000" cy="12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45720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100"/>
              <a:buFont typeface="Arial"/>
              <a:buNone/>
            </a:pPr>
            <a:r>
              <a:rPr lang="en-US" sz="41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"</a:t>
            </a:r>
            <a:r>
              <a:rPr lang="en-US" sz="56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t can often take </a:t>
            </a:r>
            <a:r>
              <a:rPr lang="en-US" sz="5600">
                <a:solidFill>
                  <a:schemeClr val="accent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 month</a:t>
            </a:r>
            <a:r>
              <a:rPr lang="en-US" sz="56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between the </a:t>
            </a:r>
            <a:r>
              <a:rPr lang="en-US" sz="5600">
                <a:solidFill>
                  <a:schemeClr val="accent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first email</a:t>
            </a:r>
            <a:r>
              <a:rPr lang="en-US" sz="56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and the </a:t>
            </a:r>
            <a:r>
              <a:rPr lang="en-US" sz="5600">
                <a:solidFill>
                  <a:schemeClr val="accent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-person meeting</a:t>
            </a:r>
            <a:r>
              <a:rPr lang="en-US" sz="56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”</a:t>
            </a:r>
            <a:r>
              <a:rPr lang="en-US" sz="41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endParaRPr sz="5600" b="0" i="0" u="none" strike="noStrike" cap="none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  <p:transition spd="slow">
    <p:push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33420A-3EA3-493A-B29B-4B6666A9F1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5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633420A-3EA3-493A-B29B-4B6666A9F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83" name="Google Shape;983;g87b7afb683_1_1002"/>
          <p:cNvPicPr preferRelativeResize="0"/>
          <p:nvPr/>
        </p:nvPicPr>
        <p:blipFill rotWithShape="1">
          <a:blip r:embed="rId7">
            <a:alphaModFix/>
          </a:blip>
          <a:srcRect t="8048" b="6605"/>
          <a:stretch/>
        </p:blipFill>
        <p:spPr>
          <a:xfrm>
            <a:off x="4534806" y="0"/>
            <a:ext cx="2729380" cy="3490302"/>
          </a:xfrm>
          <a:prstGeom prst="rect">
            <a:avLst/>
          </a:prstGeom>
          <a:noFill/>
          <a:ln>
            <a:noFill/>
          </a:ln>
        </p:spPr>
      </p:pic>
      <p:sp>
        <p:nvSpPr>
          <p:cNvPr id="984" name="Google Shape;984;g87b7afb683_1_1002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</a:pPr>
            <a:r>
              <a:rPr lang="en-US" b="1" dirty="0"/>
              <a:t>OUR FOCUS: WORKING WITH BETTY</a:t>
            </a:r>
            <a:endParaRPr b="1" dirty="0"/>
          </a:p>
        </p:txBody>
      </p:sp>
      <p:grpSp>
        <p:nvGrpSpPr>
          <p:cNvPr id="985" name="Google Shape;985;g87b7afb683_1_1002"/>
          <p:cNvGrpSpPr/>
          <p:nvPr/>
        </p:nvGrpSpPr>
        <p:grpSpPr>
          <a:xfrm>
            <a:off x="433009" y="2894107"/>
            <a:ext cx="3700714" cy="1925400"/>
            <a:chOff x="614166" y="3037977"/>
            <a:chExt cx="3700714" cy="1925400"/>
          </a:xfrm>
        </p:grpSpPr>
        <p:sp>
          <p:nvSpPr>
            <p:cNvPr id="986" name="Google Shape;986;g87b7afb683_1_1002"/>
            <p:cNvSpPr/>
            <p:nvPr/>
          </p:nvSpPr>
          <p:spPr>
            <a:xfrm>
              <a:off x="614166" y="3037977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2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VALUES</a:t>
              </a: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87" name="Google Shape;987;g87b7afb683_1_1002"/>
            <p:cNvSpPr/>
            <p:nvPr/>
          </p:nvSpPr>
          <p:spPr>
            <a:xfrm>
              <a:off x="4199080" y="3208575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88" name="Google Shape;988;g87b7afb683_1_1002"/>
          <p:cNvGrpSpPr/>
          <p:nvPr/>
        </p:nvGrpSpPr>
        <p:grpSpPr>
          <a:xfrm>
            <a:off x="442913" y="4866702"/>
            <a:ext cx="3700714" cy="1925400"/>
            <a:chOff x="672057" y="5133850"/>
            <a:chExt cx="3700714" cy="1925400"/>
          </a:xfrm>
        </p:grpSpPr>
        <p:sp>
          <p:nvSpPr>
            <p:cNvPr id="989" name="Google Shape;989;g87b7afb683_1_1002"/>
            <p:cNvSpPr/>
            <p:nvPr/>
          </p:nvSpPr>
          <p:spPr>
            <a:xfrm>
              <a:off x="672057" y="5133850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2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KEY CHARACTERISTICS</a:t>
              </a: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0" name="Google Shape;990;g87b7afb683_1_1002"/>
            <p:cNvSpPr/>
            <p:nvPr/>
          </p:nvSpPr>
          <p:spPr>
            <a:xfrm>
              <a:off x="4256971" y="5304448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91" name="Google Shape;991;g87b7afb683_1_1002"/>
          <p:cNvGrpSpPr/>
          <p:nvPr/>
        </p:nvGrpSpPr>
        <p:grpSpPr>
          <a:xfrm>
            <a:off x="7660730" y="914411"/>
            <a:ext cx="3700775" cy="1925400"/>
            <a:chOff x="4138712" y="607044"/>
            <a:chExt cx="3700775" cy="1925400"/>
          </a:xfrm>
        </p:grpSpPr>
        <p:sp>
          <p:nvSpPr>
            <p:cNvPr id="992" name="Google Shape;992;g87b7afb683_1_1002"/>
            <p:cNvSpPr/>
            <p:nvPr/>
          </p:nvSpPr>
          <p:spPr>
            <a:xfrm>
              <a:off x="4196587" y="607044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2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GOALS</a:t>
              </a: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3" name="Google Shape;993;g87b7afb683_1_1002"/>
            <p:cNvSpPr/>
            <p:nvPr/>
          </p:nvSpPr>
          <p:spPr>
            <a:xfrm>
              <a:off x="4138712" y="777642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94" name="Google Shape;994;g87b7afb683_1_1002"/>
          <p:cNvGrpSpPr/>
          <p:nvPr/>
        </p:nvGrpSpPr>
        <p:grpSpPr>
          <a:xfrm>
            <a:off x="433009" y="921512"/>
            <a:ext cx="3700714" cy="1925400"/>
            <a:chOff x="614166" y="3037977"/>
            <a:chExt cx="3700714" cy="1925400"/>
          </a:xfrm>
        </p:grpSpPr>
        <p:sp>
          <p:nvSpPr>
            <p:cNvPr id="995" name="Google Shape;995;g87b7afb683_1_1002"/>
            <p:cNvSpPr/>
            <p:nvPr/>
          </p:nvSpPr>
          <p:spPr>
            <a:xfrm>
              <a:off x="614166" y="3037977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2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NTERESTS</a:t>
              </a: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6" name="Google Shape;996;g87b7afb683_1_1002"/>
            <p:cNvSpPr/>
            <p:nvPr/>
          </p:nvSpPr>
          <p:spPr>
            <a:xfrm>
              <a:off x="4199080" y="3208575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97" name="Google Shape;997;g87b7afb683_1_1002"/>
          <p:cNvGrpSpPr/>
          <p:nvPr/>
        </p:nvGrpSpPr>
        <p:grpSpPr>
          <a:xfrm>
            <a:off x="7660730" y="2882532"/>
            <a:ext cx="3700775" cy="1925400"/>
            <a:chOff x="4138712" y="607044"/>
            <a:chExt cx="3700775" cy="1925400"/>
          </a:xfrm>
        </p:grpSpPr>
        <p:sp>
          <p:nvSpPr>
            <p:cNvPr id="998" name="Google Shape;998;g87b7afb683_1_1002"/>
            <p:cNvSpPr/>
            <p:nvPr/>
          </p:nvSpPr>
          <p:spPr>
            <a:xfrm>
              <a:off x="4196587" y="607044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2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FRUSTRATIONS</a:t>
              </a: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99" name="Google Shape;999;g87b7afb683_1_1002"/>
            <p:cNvSpPr/>
            <p:nvPr/>
          </p:nvSpPr>
          <p:spPr>
            <a:xfrm>
              <a:off x="4138712" y="777642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00" name="Google Shape;1000;g87b7afb683_1_1002"/>
          <p:cNvGrpSpPr/>
          <p:nvPr/>
        </p:nvGrpSpPr>
        <p:grpSpPr>
          <a:xfrm>
            <a:off x="7660730" y="4854107"/>
            <a:ext cx="3700775" cy="1925400"/>
            <a:chOff x="4138712" y="607044"/>
            <a:chExt cx="3700775" cy="1925400"/>
          </a:xfrm>
        </p:grpSpPr>
        <p:sp>
          <p:nvSpPr>
            <p:cNvPr id="1001" name="Google Shape;1001;g87b7afb683_1_1002"/>
            <p:cNvSpPr/>
            <p:nvPr/>
          </p:nvSpPr>
          <p:spPr>
            <a:xfrm>
              <a:off x="4196587" y="607044"/>
              <a:ext cx="3642900" cy="1925400"/>
            </a:xfrm>
            <a:prstGeom prst="rect">
              <a:avLst/>
            </a:prstGeom>
            <a:noFill/>
            <a:ln w="22225" cap="rnd" cmpd="sng">
              <a:solidFill>
                <a:schemeClr val="dk2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144000" tIns="144000" rIns="14400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2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NEEDS</a:t>
              </a: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100">
                <a:solidFill>
                  <a:schemeClr val="dk2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2" name="Google Shape;1002;g87b7afb683_1_1002"/>
            <p:cNvSpPr/>
            <p:nvPr/>
          </p:nvSpPr>
          <p:spPr>
            <a:xfrm>
              <a:off x="4138712" y="777642"/>
              <a:ext cx="115800" cy="115800"/>
            </a:xfrm>
            <a:prstGeom prst="ellipse">
              <a:avLst/>
            </a:prstGeom>
            <a:solidFill>
              <a:schemeClr val="lt1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1003" name="Google Shape;1003;g87b7afb683_1_1002"/>
          <p:cNvGraphicFramePr/>
          <p:nvPr/>
        </p:nvGraphicFramePr>
        <p:xfrm>
          <a:off x="4305324" y="3830127"/>
          <a:ext cx="3193650" cy="2949225"/>
        </p:xfrm>
        <a:graphic>
          <a:graphicData uri="http://schemas.openxmlformats.org/drawingml/2006/table">
            <a:tbl>
              <a:tblPr>
                <a:noFill/>
                <a:tableStyleId>{65E1AA1B-19E4-417D-B183-EE12D3EAC269}</a:tableStyleId>
              </a:tblPr>
              <a:tblGrid>
                <a:gridCol w="1064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4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4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830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NAME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AGE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GENDER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30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STATUS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CHILDREN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FOCUS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307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LOCATION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SAVINGS/SEED MONEY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GOAL INCOME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004" name="Google Shape;1004;g87b7afb683_1_1002"/>
          <p:cNvGrpSpPr/>
          <p:nvPr/>
        </p:nvGrpSpPr>
        <p:grpSpPr>
          <a:xfrm>
            <a:off x="4315228" y="4089886"/>
            <a:ext cx="3169924" cy="2426543"/>
            <a:chOff x="4315228" y="4089886"/>
            <a:chExt cx="3169924" cy="2426543"/>
          </a:xfrm>
        </p:grpSpPr>
        <p:sp>
          <p:nvSpPr>
            <p:cNvPr id="1005" name="Google Shape;1005;g87b7afb683_1_1002"/>
            <p:cNvSpPr/>
            <p:nvPr/>
          </p:nvSpPr>
          <p:spPr>
            <a:xfrm>
              <a:off x="4349920" y="4089886"/>
              <a:ext cx="1031400" cy="3882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ETTY</a:t>
              </a:r>
              <a:endParaRPr sz="18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6" name="Google Shape;1006;g87b7afb683_1_1002"/>
            <p:cNvSpPr/>
            <p:nvPr/>
          </p:nvSpPr>
          <p:spPr>
            <a:xfrm>
              <a:off x="5751998" y="4123909"/>
              <a:ext cx="4725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29</a:t>
              </a:r>
              <a:endParaRPr sz="14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7" name="Google Shape;1007;g87b7afb683_1_1002"/>
            <p:cNvSpPr/>
            <p:nvPr/>
          </p:nvSpPr>
          <p:spPr>
            <a:xfrm>
              <a:off x="6595000" y="4132535"/>
              <a:ext cx="8391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FEMALE</a:t>
              </a:r>
              <a:endParaRPr sz="14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8" name="Google Shape;1008;g87b7afb683_1_1002"/>
            <p:cNvSpPr/>
            <p:nvPr/>
          </p:nvSpPr>
          <p:spPr>
            <a:xfrm>
              <a:off x="4378396" y="5160973"/>
              <a:ext cx="8391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INGLE</a:t>
              </a:r>
              <a:endParaRPr sz="14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09" name="Google Shape;1009;g87b7afb683_1_1002"/>
            <p:cNvSpPr/>
            <p:nvPr/>
          </p:nvSpPr>
          <p:spPr>
            <a:xfrm>
              <a:off x="5680352" y="5160119"/>
              <a:ext cx="4725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0</a:t>
              </a:r>
              <a:endParaRPr sz="14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0" name="Google Shape;1010;g87b7afb683_1_1002"/>
            <p:cNvSpPr/>
            <p:nvPr/>
          </p:nvSpPr>
          <p:spPr>
            <a:xfrm>
              <a:off x="6424952" y="5116612"/>
              <a:ext cx="10602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75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DIRECT TO CONSUMER</a:t>
              </a:r>
              <a:endParaRPr sz="875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1" name="Google Shape;1011;g87b7afb683_1_1002"/>
            <p:cNvSpPr/>
            <p:nvPr/>
          </p:nvSpPr>
          <p:spPr>
            <a:xfrm>
              <a:off x="4315228" y="6133046"/>
              <a:ext cx="10089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95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ORONTO</a:t>
              </a:r>
              <a:endParaRPr sz="1295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2" name="Google Shape;1012;g87b7afb683_1_1002"/>
            <p:cNvSpPr/>
            <p:nvPr/>
          </p:nvSpPr>
          <p:spPr>
            <a:xfrm>
              <a:off x="5497469" y="6196329"/>
              <a:ext cx="7713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250K</a:t>
              </a:r>
              <a:endParaRPr sz="14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3" name="Google Shape;1013;g87b7afb683_1_1002"/>
            <p:cNvSpPr/>
            <p:nvPr/>
          </p:nvSpPr>
          <p:spPr>
            <a:xfrm>
              <a:off x="6569319" y="6133046"/>
              <a:ext cx="771300" cy="3201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chemeClr val="lt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500K</a:t>
              </a:r>
              <a:endParaRPr sz="14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14" name="Google Shape;1014;g87b7afb683_1_1002"/>
          <p:cNvGrpSpPr/>
          <p:nvPr/>
        </p:nvGrpSpPr>
        <p:grpSpPr>
          <a:xfrm>
            <a:off x="7853746" y="4995222"/>
            <a:ext cx="3350082" cy="1701374"/>
            <a:chOff x="7853746" y="4995222"/>
            <a:chExt cx="3350082" cy="1701374"/>
          </a:xfrm>
        </p:grpSpPr>
        <p:sp>
          <p:nvSpPr>
            <p:cNvPr id="1015" name="Google Shape;1015;g87b7afb683_1_1002"/>
            <p:cNvSpPr/>
            <p:nvPr/>
          </p:nvSpPr>
          <p:spPr>
            <a:xfrm>
              <a:off x="7853746" y="5275113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eing listened to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6" name="Google Shape;1016;g87b7afb683_1_1002"/>
            <p:cNvSpPr/>
            <p:nvPr/>
          </p:nvSpPr>
          <p:spPr>
            <a:xfrm>
              <a:off x="9589631" y="500796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Partnerships! </a:t>
              </a:r>
              <a:endParaRPr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7" name="Google Shape;1017;g87b7afb683_1_1002"/>
            <p:cNvSpPr/>
            <p:nvPr/>
          </p:nvSpPr>
          <p:spPr>
            <a:xfrm>
              <a:off x="8028696" y="601619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Validation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8" name="Google Shape;1018;g87b7afb683_1_1002"/>
            <p:cNvSpPr/>
            <p:nvPr/>
          </p:nvSpPr>
          <p:spPr>
            <a:xfrm>
              <a:off x="8699164" y="4998813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utual respect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19" name="Google Shape;1019;g87b7afb683_1_1002"/>
            <p:cNvSpPr/>
            <p:nvPr/>
          </p:nvSpPr>
          <p:spPr>
            <a:xfrm>
              <a:off x="8806893" y="577731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Deeper relationships</a:t>
              </a:r>
              <a:endParaRPr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0" name="Google Shape;1020;g87b7afb683_1_1002"/>
            <p:cNvSpPr/>
            <p:nvPr/>
          </p:nvSpPr>
          <p:spPr>
            <a:xfrm>
              <a:off x="10445088" y="4995222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63833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47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ESULTS out of partnerships (progress, new business)</a:t>
              </a:r>
              <a:endParaRPr sz="647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1" name="Google Shape;1021;g87b7afb683_1_1002"/>
            <p:cNvSpPr/>
            <p:nvPr/>
          </p:nvSpPr>
          <p:spPr>
            <a:xfrm>
              <a:off x="9591845" y="5922467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ppreciation for her innovative solution</a:t>
              </a:r>
              <a:endParaRPr sz="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2" name="Google Shape;1022;g87b7afb683_1_1002"/>
            <p:cNvSpPr/>
            <p:nvPr/>
          </p:nvSpPr>
          <p:spPr>
            <a:xfrm>
              <a:off x="10476628" y="581674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Networking</a:t>
              </a:r>
              <a:endParaRPr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23" name="Google Shape;1023;g87b7afb683_1_1002"/>
          <p:cNvGrpSpPr/>
          <p:nvPr/>
        </p:nvGrpSpPr>
        <p:grpSpPr>
          <a:xfrm>
            <a:off x="760212" y="1139136"/>
            <a:ext cx="3027135" cy="1576666"/>
            <a:chOff x="760212" y="1139136"/>
            <a:chExt cx="3027135" cy="1576666"/>
          </a:xfrm>
        </p:grpSpPr>
        <p:sp>
          <p:nvSpPr>
            <p:cNvPr id="1024" name="Google Shape;1024;g87b7afb683_1_1002"/>
            <p:cNvSpPr/>
            <p:nvPr/>
          </p:nvSpPr>
          <p:spPr>
            <a:xfrm>
              <a:off x="3060147" y="134901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Website building</a:t>
              </a:r>
              <a:endParaRPr sz="8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5" name="Google Shape;1025;g87b7afb683_1_1002"/>
            <p:cNvSpPr/>
            <p:nvPr/>
          </p:nvSpPr>
          <p:spPr>
            <a:xfrm>
              <a:off x="1931971" y="124245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Programming</a:t>
              </a:r>
              <a:endParaRPr sz="6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6" name="Google Shape;1026;g87b7afb683_1_1002"/>
            <p:cNvSpPr/>
            <p:nvPr/>
          </p:nvSpPr>
          <p:spPr>
            <a:xfrm>
              <a:off x="760212" y="113913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ustomer experience</a:t>
              </a:r>
              <a:endParaRPr sz="7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7" name="Google Shape;1027;g87b7afb683_1_1002"/>
            <p:cNvSpPr/>
            <p:nvPr/>
          </p:nvSpPr>
          <p:spPr>
            <a:xfrm>
              <a:off x="1989846" y="2035402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Professional organizations</a:t>
              </a:r>
              <a:endParaRPr sz="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28" name="Google Shape;1028;g87b7afb683_1_1002"/>
            <p:cNvSpPr/>
            <p:nvPr/>
          </p:nvSpPr>
          <p:spPr>
            <a:xfrm>
              <a:off x="824589" y="1992961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hallenge status-quo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29" name="Google Shape;1029;g87b7afb683_1_1002"/>
          <p:cNvGrpSpPr/>
          <p:nvPr/>
        </p:nvGrpSpPr>
        <p:grpSpPr>
          <a:xfrm>
            <a:off x="7826773" y="1005360"/>
            <a:ext cx="3378559" cy="1654946"/>
            <a:chOff x="7826773" y="1005360"/>
            <a:chExt cx="3378559" cy="1654946"/>
          </a:xfrm>
        </p:grpSpPr>
        <p:sp>
          <p:nvSpPr>
            <p:cNvPr id="1030" name="Google Shape;1030;g87b7afb683_1_1002"/>
            <p:cNvSpPr/>
            <p:nvPr/>
          </p:nvSpPr>
          <p:spPr>
            <a:xfrm>
              <a:off x="7826773" y="137041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aking people’s lives better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1" name="Google Shape;1031;g87b7afb683_1_1002"/>
            <p:cNvSpPr/>
            <p:nvPr/>
          </p:nvSpPr>
          <p:spPr>
            <a:xfrm>
              <a:off x="8691440" y="100536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Do things better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2" name="Google Shape;1032;g87b7afb683_1_1002"/>
            <p:cNvSpPr/>
            <p:nvPr/>
          </p:nvSpPr>
          <p:spPr>
            <a:xfrm>
              <a:off x="8644731" y="197990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e leader in my area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3" name="Google Shape;1033;g87b7afb683_1_1002"/>
            <p:cNvSpPr/>
            <p:nvPr/>
          </p:nvSpPr>
          <p:spPr>
            <a:xfrm>
              <a:off x="9464742" y="1916865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ring something else to tabl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4" name="Google Shape;1034;g87b7afb683_1_1002"/>
            <p:cNvSpPr/>
            <p:nvPr/>
          </p:nvSpPr>
          <p:spPr>
            <a:xfrm>
              <a:off x="10427954" y="193923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952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500k GOAL!</a:t>
              </a:r>
              <a:endParaRPr sz="105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5" name="Google Shape;1035;g87b7afb683_1_1002"/>
            <p:cNvSpPr/>
            <p:nvPr/>
          </p:nvSpPr>
          <p:spPr>
            <a:xfrm>
              <a:off x="9589631" y="1055678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bility to test</a:t>
              </a:r>
              <a:endParaRPr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6" name="Google Shape;1036;g87b7afb683_1_1002"/>
            <p:cNvSpPr/>
            <p:nvPr/>
          </p:nvSpPr>
          <p:spPr>
            <a:xfrm>
              <a:off x="10478131" y="1068359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bility to be creativ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37" name="Google Shape;1037;g87b7afb683_1_1002"/>
          <p:cNvGrpSpPr/>
          <p:nvPr/>
        </p:nvGrpSpPr>
        <p:grpSpPr>
          <a:xfrm>
            <a:off x="731271" y="3088796"/>
            <a:ext cx="2973350" cy="1648070"/>
            <a:chOff x="731271" y="3088796"/>
            <a:chExt cx="2973350" cy="1648070"/>
          </a:xfrm>
        </p:grpSpPr>
        <p:sp>
          <p:nvSpPr>
            <p:cNvPr id="1038" name="Google Shape;1038;g87b7afb683_1_1002"/>
            <p:cNvSpPr/>
            <p:nvPr/>
          </p:nvSpPr>
          <p:spPr>
            <a:xfrm>
              <a:off x="2977421" y="3276989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aring</a:t>
              </a:r>
              <a:endParaRPr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39" name="Google Shape;1039;g87b7afb683_1_1002"/>
            <p:cNvSpPr/>
            <p:nvPr/>
          </p:nvSpPr>
          <p:spPr>
            <a:xfrm>
              <a:off x="1912768" y="3094024"/>
              <a:ext cx="8169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Freedom/ Independence</a:t>
              </a:r>
              <a:endParaRPr sz="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0" name="Google Shape;1040;g87b7afb683_1_1002"/>
            <p:cNvSpPr/>
            <p:nvPr/>
          </p:nvSpPr>
          <p:spPr>
            <a:xfrm>
              <a:off x="731271" y="308879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Financial freedom</a:t>
              </a:r>
              <a:endParaRPr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1" name="Google Shape;1041;g87b7afb683_1_1002"/>
            <p:cNvSpPr/>
            <p:nvPr/>
          </p:nvSpPr>
          <p:spPr>
            <a:xfrm>
              <a:off x="1842797" y="388708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eing of service</a:t>
              </a:r>
              <a:endParaRPr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2" name="Google Shape;1042;g87b7afb683_1_1002"/>
            <p:cNvSpPr/>
            <p:nvPr/>
          </p:nvSpPr>
          <p:spPr>
            <a:xfrm>
              <a:off x="911946" y="391823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olving problems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3" name="Google Shape;1043;g87b7afb683_1_1002"/>
            <p:cNvSpPr/>
            <p:nvPr/>
          </p:nvSpPr>
          <p:spPr>
            <a:xfrm>
              <a:off x="2802237" y="405646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No fear of failur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44" name="Google Shape;1044;g87b7afb683_1_1002"/>
          <p:cNvGrpSpPr/>
          <p:nvPr/>
        </p:nvGrpSpPr>
        <p:grpSpPr>
          <a:xfrm>
            <a:off x="616227" y="5041130"/>
            <a:ext cx="3324625" cy="1702786"/>
            <a:chOff x="616227" y="5041130"/>
            <a:chExt cx="3324625" cy="1702786"/>
          </a:xfrm>
        </p:grpSpPr>
        <p:sp>
          <p:nvSpPr>
            <p:cNvPr id="1045" name="Google Shape;1045;g87b7afb683_1_1002"/>
            <p:cNvSpPr/>
            <p:nvPr/>
          </p:nvSpPr>
          <p:spPr>
            <a:xfrm>
              <a:off x="3213652" y="5335788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Open to chang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6" name="Google Shape;1046;g87b7afb683_1_1002"/>
            <p:cNvSpPr/>
            <p:nvPr/>
          </p:nvSpPr>
          <p:spPr>
            <a:xfrm>
              <a:off x="2561843" y="606351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daptable</a:t>
              </a:r>
              <a:endParaRPr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7" name="Google Shape;1047;g87b7afb683_1_1002"/>
            <p:cNvSpPr/>
            <p:nvPr/>
          </p:nvSpPr>
          <p:spPr>
            <a:xfrm>
              <a:off x="1551666" y="595562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Passionat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8" name="Google Shape;1048;g87b7afb683_1_1002"/>
            <p:cNvSpPr/>
            <p:nvPr/>
          </p:nvSpPr>
          <p:spPr>
            <a:xfrm>
              <a:off x="2366230" y="5275113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Visionaries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49" name="Google Shape;1049;g87b7afb683_1_1002"/>
            <p:cNvSpPr/>
            <p:nvPr/>
          </p:nvSpPr>
          <p:spPr>
            <a:xfrm>
              <a:off x="1487289" y="512412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otivated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0" name="Google Shape;1050;g87b7afb683_1_1002"/>
            <p:cNvSpPr/>
            <p:nvPr/>
          </p:nvSpPr>
          <p:spPr>
            <a:xfrm>
              <a:off x="616227" y="504113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Optimistic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1" name="Google Shape;1051;g87b7afb683_1_1002"/>
            <p:cNvSpPr/>
            <p:nvPr/>
          </p:nvSpPr>
          <p:spPr>
            <a:xfrm>
              <a:off x="726013" y="5922915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mbitious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grpSp>
        <p:nvGrpSpPr>
          <p:cNvPr id="1052" name="Google Shape;1052;g87b7afb683_1_1002"/>
          <p:cNvGrpSpPr/>
          <p:nvPr/>
        </p:nvGrpSpPr>
        <p:grpSpPr>
          <a:xfrm>
            <a:off x="7970676" y="2987334"/>
            <a:ext cx="3313781" cy="1723312"/>
            <a:chOff x="7970676" y="2987334"/>
            <a:chExt cx="3313781" cy="1723312"/>
          </a:xfrm>
        </p:grpSpPr>
        <p:sp>
          <p:nvSpPr>
            <p:cNvPr id="1053" name="Google Shape;1053;g87b7afb683_1_1002"/>
            <p:cNvSpPr/>
            <p:nvPr/>
          </p:nvSpPr>
          <p:spPr>
            <a:xfrm>
              <a:off x="7970676" y="3276989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7096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2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es solutions – but others don’t see it ☹</a:t>
              </a:r>
              <a:endParaRPr sz="62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4" name="Google Shape;1054;g87b7afb683_1_1002"/>
            <p:cNvSpPr/>
            <p:nvPr/>
          </p:nvSpPr>
          <p:spPr>
            <a:xfrm>
              <a:off x="8903679" y="306470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eing others suffer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5" name="Google Shape;1055;g87b7afb683_1_1002"/>
            <p:cNvSpPr/>
            <p:nvPr/>
          </p:nvSpPr>
          <p:spPr>
            <a:xfrm>
              <a:off x="9739299" y="2987334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Everything takes long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6" name="Google Shape;1056;g87b7afb683_1_1002"/>
            <p:cNvSpPr/>
            <p:nvPr/>
          </p:nvSpPr>
          <p:spPr>
            <a:xfrm>
              <a:off x="8866007" y="389330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43243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4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No access to decision makers/right resources</a:t>
              </a:r>
              <a:endParaRPr sz="74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7" name="Google Shape;1057;g87b7afb683_1_1002"/>
            <p:cNvSpPr/>
            <p:nvPr/>
          </p:nvSpPr>
          <p:spPr>
            <a:xfrm>
              <a:off x="8028696" y="4030246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es solutions – but it’s not there ☹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8" name="Google Shape;1058;g87b7afb683_1_1002"/>
            <p:cNvSpPr/>
            <p:nvPr/>
          </p:nvSpPr>
          <p:spPr>
            <a:xfrm>
              <a:off x="9739300" y="3997192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76666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ndustry and orgs too conservative</a:t>
              </a:r>
              <a:endParaRPr sz="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59" name="Google Shape;1059;g87b7afb683_1_1002"/>
            <p:cNvSpPr/>
            <p:nvPr/>
          </p:nvSpPr>
          <p:spPr>
            <a:xfrm>
              <a:off x="10557257" y="2987334"/>
              <a:ext cx="727200" cy="753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ometimes talking to wrong people</a:t>
              </a:r>
              <a:endParaRPr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060" name="Google Shape;1060;g87b7afb683_1_1002"/>
            <p:cNvSpPr/>
            <p:nvPr/>
          </p:nvSpPr>
          <p:spPr>
            <a:xfrm>
              <a:off x="10524676" y="3887080"/>
              <a:ext cx="727200" cy="6804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mpatience</a:t>
              </a:r>
              <a:endParaRPr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1061" name="Google Shape;1061;g87b7afb683_1_1002"/>
          <p:cNvSpPr/>
          <p:nvPr/>
        </p:nvSpPr>
        <p:spPr>
          <a:xfrm rot="447263">
            <a:off x="5020931" y="2799612"/>
            <a:ext cx="1935458" cy="778156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66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We’ll do it</a:t>
            </a:r>
            <a:endParaRPr sz="1600" b="1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" name="Google Shape;1066;g87b7afb683_1_1084"/>
          <p:cNvSpPr/>
          <p:nvPr/>
        </p:nvSpPr>
        <p:spPr>
          <a:xfrm>
            <a:off x="8984052" y="846828"/>
            <a:ext cx="2465700" cy="550800"/>
          </a:xfrm>
          <a:prstGeom prst="rect">
            <a:avLst/>
          </a:prstGeom>
          <a:solidFill>
            <a:srgbClr val="F5AA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636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ntractual phase</a:t>
            </a:r>
            <a:endParaRPr sz="11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graphicFrame>
        <p:nvGraphicFramePr>
          <p:cNvPr id="1067" name="Google Shape;1067;g87b7afb683_1_1084"/>
          <p:cNvGraphicFramePr/>
          <p:nvPr/>
        </p:nvGraphicFramePr>
        <p:xfrm>
          <a:off x="1457849" y="2665142"/>
          <a:ext cx="10734150" cy="2243300"/>
        </p:xfrm>
        <a:graphic>
          <a:graphicData uri="http://schemas.openxmlformats.org/drawingml/2006/table">
            <a:tbl>
              <a:tblPr>
                <a:noFill/>
                <a:tableStyleId>{65E1AA1B-19E4-417D-B183-EE12D3EAC269}</a:tableStyleId>
              </a:tblPr>
              <a:tblGrid>
                <a:gridCol w="107341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121650"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1650"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68" name="Google Shape;1068;g87b7afb683_1_1084"/>
          <p:cNvSpPr/>
          <p:nvPr/>
        </p:nvSpPr>
        <p:spPr>
          <a:xfrm>
            <a:off x="2184770" y="841467"/>
            <a:ext cx="2465700" cy="547500"/>
          </a:xfrm>
          <a:prstGeom prst="rect">
            <a:avLst/>
          </a:prstGeom>
          <a:solidFill>
            <a:srgbClr val="F5AA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636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iscovery phase</a:t>
            </a:r>
            <a:endParaRPr sz="1100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69" name="Google Shape;1069;g87b7afb683_1_1084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</a:pPr>
            <a:r>
              <a:rPr lang="en-US"/>
              <a:t>PERSONA JOURNEY MAP</a:t>
            </a:r>
            <a:endParaRPr/>
          </a:p>
        </p:txBody>
      </p:sp>
      <p:sp>
        <p:nvSpPr>
          <p:cNvPr id="1070" name="Google Shape;1070;g87b7afb683_1_1084"/>
          <p:cNvSpPr/>
          <p:nvPr/>
        </p:nvSpPr>
        <p:spPr>
          <a:xfrm>
            <a:off x="2444221" y="2862555"/>
            <a:ext cx="727200" cy="680400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arket research</a:t>
            </a:r>
            <a:endParaRPr sz="10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graphicFrame>
        <p:nvGraphicFramePr>
          <p:cNvPr id="1071" name="Google Shape;1071;g87b7afb683_1_1084"/>
          <p:cNvGraphicFramePr/>
          <p:nvPr/>
        </p:nvGraphicFramePr>
        <p:xfrm>
          <a:off x="442912" y="1089025"/>
          <a:ext cx="1014950" cy="5364150"/>
        </p:xfrm>
        <a:graphic>
          <a:graphicData uri="http://schemas.openxmlformats.org/drawingml/2006/table">
            <a:tbl>
              <a:tblPr>
                <a:noFill/>
                <a:tableStyleId>{65E1AA1B-19E4-417D-B183-EE12D3EAC269}</a:tableStyleId>
              </a:tblPr>
              <a:tblGrid>
                <a:gridCol w="1014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88050"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MAIN ACTIONS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8050"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EMOTIONS &amp; TOUCHPOINTS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88050"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strike="noStrike" cap="none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THOUGHTS</a:t>
                      </a: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72" name="Google Shape;1072;g87b7afb683_1_1084"/>
          <p:cNvSpPr/>
          <p:nvPr/>
        </p:nvSpPr>
        <p:spPr>
          <a:xfrm>
            <a:off x="1770472" y="2522759"/>
            <a:ext cx="604500" cy="519900"/>
          </a:xfrm>
          <a:prstGeom prst="hexagon">
            <a:avLst>
              <a:gd name="adj" fmla="val 27390"/>
              <a:gd name="vf" fmla="val 115470"/>
            </a:avLst>
          </a:prstGeom>
          <a:solidFill>
            <a:srgbClr val="5FD7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inkedin</a:t>
            </a:r>
            <a:endParaRPr sz="5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73" name="Google Shape;1073;g87b7afb683_1_1084"/>
          <p:cNvSpPr/>
          <p:nvPr/>
        </p:nvSpPr>
        <p:spPr>
          <a:xfrm>
            <a:off x="1541375" y="1359294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search targets (network, </a:t>
            </a:r>
            <a:r>
              <a:rPr lang="en-US" sz="700" dirty="0" err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inkedin</a:t>
            </a:r>
            <a:r>
              <a:rPr lang="en-US" sz="7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)</a:t>
            </a:r>
            <a:endParaRPr dirty="0"/>
          </a:p>
        </p:txBody>
      </p:sp>
      <p:sp>
        <p:nvSpPr>
          <p:cNvPr id="1074" name="Google Shape;1074;g87b7afb683_1_1084"/>
          <p:cNvSpPr/>
          <p:nvPr/>
        </p:nvSpPr>
        <p:spPr>
          <a:xfrm>
            <a:off x="2571396" y="1247726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dentify targets</a:t>
            </a:r>
            <a:endParaRPr sz="10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75" name="Google Shape;1075;g87b7afb683_1_1084"/>
          <p:cNvSpPr/>
          <p:nvPr/>
        </p:nvSpPr>
        <p:spPr>
          <a:xfrm>
            <a:off x="3601418" y="1423049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et-up pitch</a:t>
            </a:r>
            <a:endParaRPr sz="10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76" name="Google Shape;1076;g87b7afb683_1_1084"/>
          <p:cNvSpPr/>
          <p:nvPr/>
        </p:nvSpPr>
        <p:spPr>
          <a:xfrm>
            <a:off x="4631439" y="1306167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hone call to arrange a meeting for pitch meeting</a:t>
            </a:r>
            <a:endParaRPr sz="7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77" name="Google Shape;1077;g87b7afb683_1_1084"/>
          <p:cNvSpPr/>
          <p:nvPr/>
        </p:nvSpPr>
        <p:spPr>
          <a:xfrm>
            <a:off x="5661461" y="1423049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5142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Follow-up with e-mail/material before meeting</a:t>
            </a:r>
            <a:endParaRPr sz="7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78" name="Google Shape;1078;g87b7afb683_1_1084"/>
          <p:cNvSpPr/>
          <p:nvPr/>
        </p:nvSpPr>
        <p:spPr>
          <a:xfrm>
            <a:off x="6691482" y="1247726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elay in the meeting</a:t>
            </a:r>
            <a:endParaRPr sz="10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79" name="Google Shape;1079;g87b7afb683_1_1084"/>
          <p:cNvSpPr/>
          <p:nvPr/>
        </p:nvSpPr>
        <p:spPr>
          <a:xfrm>
            <a:off x="7721504" y="1423049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itch meeting</a:t>
            </a:r>
            <a:endParaRPr sz="10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0" name="Google Shape;1080;g87b7afb683_1_1084"/>
          <p:cNvSpPr/>
          <p:nvPr/>
        </p:nvSpPr>
        <p:spPr>
          <a:xfrm>
            <a:off x="8746732" y="1278722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iscovery on the responsible decision-maker</a:t>
            </a:r>
            <a:endParaRPr sz="7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1" name="Google Shape;1081;g87b7afb683_1_1084"/>
          <p:cNvSpPr/>
          <p:nvPr/>
        </p:nvSpPr>
        <p:spPr>
          <a:xfrm>
            <a:off x="9771959" y="1479498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takeholder meeting</a:t>
            </a:r>
            <a:endParaRPr/>
          </a:p>
        </p:txBody>
      </p:sp>
      <p:sp>
        <p:nvSpPr>
          <p:cNvPr id="1082" name="Google Shape;1082;g87b7afb683_1_1084"/>
          <p:cNvSpPr/>
          <p:nvPr/>
        </p:nvSpPr>
        <p:spPr>
          <a:xfrm>
            <a:off x="10811568" y="1278722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view requirements</a:t>
            </a:r>
            <a:endParaRPr sz="9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3" name="Google Shape;1083;g87b7afb683_1_1084"/>
          <p:cNvSpPr/>
          <p:nvPr/>
        </p:nvSpPr>
        <p:spPr>
          <a:xfrm>
            <a:off x="11832002" y="1426087"/>
            <a:ext cx="959400" cy="645600"/>
          </a:xfrm>
          <a:prstGeom prst="rect">
            <a:avLst/>
          </a:prstGeom>
          <a:solidFill>
            <a:srgbClr val="ECE7EC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ntract negotiation</a:t>
            </a:r>
            <a:endParaRPr sz="9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4" name="Google Shape;1084;g87b7afb683_1_1084"/>
          <p:cNvSpPr/>
          <p:nvPr/>
        </p:nvSpPr>
        <p:spPr>
          <a:xfrm>
            <a:off x="1935661" y="2957660"/>
            <a:ext cx="604500" cy="519900"/>
          </a:xfrm>
          <a:prstGeom prst="hexagon">
            <a:avLst>
              <a:gd name="adj" fmla="val 27390"/>
              <a:gd name="vf" fmla="val 115470"/>
            </a:avLst>
          </a:prstGeom>
          <a:solidFill>
            <a:srgbClr val="5FD7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lose network</a:t>
            </a:r>
            <a:endParaRPr sz="5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5" name="Google Shape;1085;g87b7afb683_1_1084"/>
          <p:cNvSpPr/>
          <p:nvPr/>
        </p:nvSpPr>
        <p:spPr>
          <a:xfrm>
            <a:off x="2227321" y="2571111"/>
            <a:ext cx="604500" cy="519900"/>
          </a:xfrm>
          <a:prstGeom prst="hexagon">
            <a:avLst>
              <a:gd name="adj" fmla="val 27390"/>
              <a:gd name="vf" fmla="val 115470"/>
            </a:avLst>
          </a:prstGeom>
          <a:solidFill>
            <a:srgbClr val="5FD7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ld calling</a:t>
            </a:r>
            <a:endParaRPr sz="5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6" name="Google Shape;1086;g87b7afb683_1_1084"/>
          <p:cNvSpPr/>
          <p:nvPr/>
        </p:nvSpPr>
        <p:spPr>
          <a:xfrm>
            <a:off x="3717530" y="3364028"/>
            <a:ext cx="727200" cy="680400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1777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search about insurers</a:t>
            </a:r>
            <a:endParaRPr sz="9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7" name="Google Shape;1087;g87b7afb683_1_1084"/>
          <p:cNvSpPr/>
          <p:nvPr/>
        </p:nvSpPr>
        <p:spPr>
          <a:xfrm>
            <a:off x="5777573" y="3364028"/>
            <a:ext cx="727200" cy="680400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Follow-up emails asking for response</a:t>
            </a:r>
            <a:endParaRPr sz="800" dirty="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8" name="Google Shape;1088;g87b7afb683_1_1084"/>
          <p:cNvSpPr/>
          <p:nvPr/>
        </p:nvSpPr>
        <p:spPr>
          <a:xfrm>
            <a:off x="6691482" y="5340004"/>
            <a:ext cx="727200" cy="680400"/>
          </a:xfrm>
          <a:prstGeom prst="rect">
            <a:avLst/>
          </a:prstGeom>
          <a:solidFill>
            <a:srgbClr val="AFE9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5142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takeholder changed</a:t>
            </a:r>
            <a:endParaRPr sz="7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89" name="Google Shape;1089;g87b7afb683_1_1084"/>
          <p:cNvSpPr/>
          <p:nvPr/>
        </p:nvSpPr>
        <p:spPr>
          <a:xfrm>
            <a:off x="7357965" y="5005134"/>
            <a:ext cx="727200" cy="680400"/>
          </a:xfrm>
          <a:prstGeom prst="rect">
            <a:avLst/>
          </a:prstGeom>
          <a:solidFill>
            <a:srgbClr val="AFE9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7666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ureaucratic</a:t>
            </a:r>
            <a:endParaRPr sz="6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90" name="Google Shape;1090;g87b7afb683_1_1084"/>
          <p:cNvSpPr/>
          <p:nvPr/>
        </p:nvSpPr>
        <p:spPr>
          <a:xfrm>
            <a:off x="9175080" y="5128622"/>
            <a:ext cx="727200" cy="680400"/>
          </a:xfrm>
          <a:prstGeom prst="rect">
            <a:avLst/>
          </a:prstGeom>
          <a:solidFill>
            <a:srgbClr val="AFE9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rganization has internal politics</a:t>
            </a:r>
            <a:endParaRPr sz="6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91" name="Google Shape;1091;g87b7afb683_1_1084"/>
          <p:cNvSpPr txBox="1"/>
          <p:nvPr/>
        </p:nvSpPr>
        <p:spPr>
          <a:xfrm>
            <a:off x="1167131" y="2665142"/>
            <a:ext cx="5166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GOOD</a:t>
            </a:r>
            <a:endParaRPr sz="800" b="1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92" name="Google Shape;1092;g87b7afb683_1_1084"/>
          <p:cNvSpPr txBox="1"/>
          <p:nvPr/>
        </p:nvSpPr>
        <p:spPr>
          <a:xfrm>
            <a:off x="1292165" y="4687198"/>
            <a:ext cx="391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AD</a:t>
            </a:r>
            <a:endParaRPr sz="800" b="1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93" name="Google Shape;1093;g87b7afb683_1_1084"/>
          <p:cNvSpPr/>
          <p:nvPr/>
        </p:nvSpPr>
        <p:spPr>
          <a:xfrm>
            <a:off x="8924063" y="3086788"/>
            <a:ext cx="604500" cy="519900"/>
          </a:xfrm>
          <a:prstGeom prst="hexagon">
            <a:avLst>
              <a:gd name="adj" fmla="val 27390"/>
              <a:gd name="vf" fmla="val 115470"/>
            </a:avLst>
          </a:prstGeom>
          <a:solidFill>
            <a:srgbClr val="5FD7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egotiations</a:t>
            </a:r>
            <a:endParaRPr sz="5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94" name="Google Shape;1094;g87b7afb683_1_1084"/>
          <p:cNvSpPr/>
          <p:nvPr/>
        </p:nvSpPr>
        <p:spPr>
          <a:xfrm>
            <a:off x="10216848" y="5088771"/>
            <a:ext cx="727200" cy="680400"/>
          </a:xfrm>
          <a:prstGeom prst="rect">
            <a:avLst/>
          </a:prstGeom>
          <a:solidFill>
            <a:srgbClr val="AFE9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Fear in making decisions</a:t>
            </a:r>
            <a:endParaRPr sz="8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95" name="Google Shape;1095;g87b7afb683_1_1084"/>
          <p:cNvSpPr/>
          <p:nvPr/>
        </p:nvSpPr>
        <p:spPr>
          <a:xfrm>
            <a:off x="11258616" y="4825970"/>
            <a:ext cx="727200" cy="680400"/>
          </a:xfrm>
          <a:prstGeom prst="rect">
            <a:avLst/>
          </a:prstGeom>
          <a:solidFill>
            <a:srgbClr val="AFE9FF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gal roadblocks</a:t>
            </a:r>
            <a:endParaRPr sz="7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96" name="Google Shape;1096;g87b7afb683_1_1084"/>
          <p:cNvSpPr/>
          <p:nvPr/>
        </p:nvSpPr>
        <p:spPr>
          <a:xfrm>
            <a:off x="11859210" y="3364028"/>
            <a:ext cx="727200" cy="680400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heck in with key stakeholders</a:t>
            </a:r>
            <a:endParaRPr sz="700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Google Shape;1101;g7789513a70_6_32"/>
          <p:cNvSpPr txBox="1"/>
          <p:nvPr/>
        </p:nvSpPr>
        <p:spPr>
          <a:xfrm>
            <a:off x="442913" y="2620052"/>
            <a:ext cx="9859500" cy="12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Pts val="4800"/>
              <a:buFont typeface="Arial"/>
              <a:buNone/>
            </a:pPr>
            <a:r>
              <a:rPr lang="en-US" sz="4800" b="1" i="0" u="none" strike="noStrike" cap="none">
                <a:solidFill>
                  <a:srgbClr val="FE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HMW </a:t>
            </a:r>
            <a:r>
              <a:rPr lang="en-US" sz="4800" b="1">
                <a:solidFill>
                  <a:srgbClr val="FE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dentify the </a:t>
            </a:r>
            <a:r>
              <a:rPr lang="en-US" sz="4800" b="1">
                <a:solidFill>
                  <a:schemeClr val="accent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ight </a:t>
            </a:r>
            <a:r>
              <a:rPr lang="en-US" sz="4800" b="1">
                <a:solidFill>
                  <a:srgbClr val="FE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ecision makers to </a:t>
            </a:r>
            <a:r>
              <a:rPr lang="en-US" sz="4800" b="1">
                <a:solidFill>
                  <a:schemeClr val="accent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peed up </a:t>
            </a:r>
            <a:r>
              <a:rPr lang="en-US" sz="4800" b="1">
                <a:solidFill>
                  <a:srgbClr val="FE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he process of collaboration, </a:t>
            </a:r>
            <a:r>
              <a:rPr lang="en-US" sz="4800" b="1">
                <a:solidFill>
                  <a:schemeClr val="accent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mproving </a:t>
            </a:r>
            <a:r>
              <a:rPr lang="en-US" sz="4800" b="1">
                <a:solidFill>
                  <a:srgbClr val="FE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Betty’s experience?</a:t>
            </a:r>
            <a:endParaRPr sz="4800" b="1" i="0" u="none" strike="noStrike" cap="none">
              <a:solidFill>
                <a:schemeClr val="accent3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  <p:transition spd="slow"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52416F-D6C5-4AED-B18A-EA3DAF03F0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327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52416F-D6C5-4AED-B18A-EA3DAF03F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06" name="Google Shape;1106;g87b7afb683_1_955"/>
          <p:cNvGraphicFramePr/>
          <p:nvPr/>
        </p:nvGraphicFramePr>
        <p:xfrm>
          <a:off x="442912" y="1089025"/>
          <a:ext cx="11306125" cy="5364175"/>
        </p:xfrm>
        <a:graphic>
          <a:graphicData uri="http://schemas.openxmlformats.org/drawingml/2006/table">
            <a:tbl>
              <a:tblPr>
                <a:noFill/>
                <a:tableStyleId>{65E1AA1B-19E4-417D-B183-EE12D3EAC269}</a:tableStyleId>
              </a:tblPr>
              <a:tblGrid>
                <a:gridCol w="2261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612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364175"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900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chemeClr val="dk1"/>
                      </a:solidFill>
                      <a:prstDash val="dot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07" name="Google Shape;1107;g87b7afb683_1_955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</a:pPr>
            <a:r>
              <a:rPr lang="en-US" b="1" dirty="0"/>
              <a:t>OUR SOLUTION IDEAS</a:t>
            </a:r>
            <a:endParaRPr b="1" dirty="0"/>
          </a:p>
        </p:txBody>
      </p:sp>
      <p:sp>
        <p:nvSpPr>
          <p:cNvPr id="1108" name="Google Shape;1108;g87b7afb683_1_955"/>
          <p:cNvSpPr txBox="1"/>
          <p:nvPr/>
        </p:nvSpPr>
        <p:spPr>
          <a:xfrm>
            <a:off x="1213785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ne week</a:t>
            </a:r>
            <a:endParaRPr sz="900" b="1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09" name="Google Shape;1109;g87b7afb683_1_955"/>
          <p:cNvSpPr txBox="1"/>
          <p:nvPr/>
        </p:nvSpPr>
        <p:spPr>
          <a:xfrm>
            <a:off x="3586821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ne month</a:t>
            </a:r>
            <a:endParaRPr sz="900" b="1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0" name="Google Shape;1110;g87b7afb683_1_955"/>
          <p:cNvSpPr txBox="1"/>
          <p:nvPr/>
        </p:nvSpPr>
        <p:spPr>
          <a:xfrm>
            <a:off x="5822998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ne Year</a:t>
            </a:r>
            <a:endParaRPr sz="900" b="1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1" name="Google Shape;1111;g87b7afb683_1_955"/>
          <p:cNvSpPr txBox="1"/>
          <p:nvPr/>
        </p:nvSpPr>
        <p:spPr>
          <a:xfrm>
            <a:off x="8059175" y="904359"/>
            <a:ext cx="546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hree Years</a:t>
            </a:r>
            <a:endParaRPr sz="900" b="1">
              <a:solidFill>
                <a:schemeClr val="dk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12" name="Google Shape;1112;g87b7afb683_1_955"/>
          <p:cNvSpPr txBox="1"/>
          <p:nvPr/>
        </p:nvSpPr>
        <p:spPr>
          <a:xfrm>
            <a:off x="10172646" y="904359"/>
            <a:ext cx="869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ever/ Whenever</a:t>
            </a:r>
            <a:endParaRPr/>
          </a:p>
        </p:txBody>
      </p:sp>
      <p:grpSp>
        <p:nvGrpSpPr>
          <p:cNvPr id="1113" name="Google Shape;1113;g87b7afb683_1_955"/>
          <p:cNvGrpSpPr/>
          <p:nvPr/>
        </p:nvGrpSpPr>
        <p:grpSpPr>
          <a:xfrm>
            <a:off x="513359" y="1458357"/>
            <a:ext cx="10631529" cy="5146616"/>
            <a:chOff x="513359" y="1458357"/>
            <a:chExt cx="10631529" cy="5146616"/>
          </a:xfrm>
        </p:grpSpPr>
        <p:sp>
          <p:nvSpPr>
            <p:cNvPr id="1114" name="Google Shape;1114;g87b7afb683_1_955"/>
            <p:cNvSpPr/>
            <p:nvPr/>
          </p:nvSpPr>
          <p:spPr>
            <a:xfrm>
              <a:off x="536195" y="14886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dentify winners and losers on technology</a:t>
              </a:r>
              <a:endParaRPr/>
            </a:p>
          </p:txBody>
        </p:sp>
        <p:sp>
          <p:nvSpPr>
            <p:cNvPr id="1115" name="Google Shape;1115;g87b7afb683_1_955"/>
            <p:cNvSpPr/>
            <p:nvPr/>
          </p:nvSpPr>
          <p:spPr>
            <a:xfrm>
              <a:off x="1602906" y="14886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dirty="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nform all potential bodies</a:t>
              </a:r>
              <a:endParaRPr dirty="0"/>
            </a:p>
          </p:txBody>
        </p:sp>
        <p:sp>
          <p:nvSpPr>
            <p:cNvPr id="1116" name="Google Shape;1116;g87b7afb683_1_955"/>
            <p:cNvSpPr/>
            <p:nvPr/>
          </p:nvSpPr>
          <p:spPr>
            <a:xfrm>
              <a:off x="551841" y="251951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provide room and time for that person to act</a:t>
              </a:r>
              <a:endParaRPr/>
            </a:p>
          </p:txBody>
        </p:sp>
        <p:sp>
          <p:nvSpPr>
            <p:cNvPr id="1117" name="Google Shape;1117;g87b7afb683_1_955"/>
            <p:cNvSpPr/>
            <p:nvPr/>
          </p:nvSpPr>
          <p:spPr>
            <a:xfrm>
              <a:off x="1602906" y="2582809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Hire new decision-maker</a:t>
              </a:r>
              <a:endParaRPr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18" name="Google Shape;1118;g87b7afb683_1_955"/>
            <p:cNvSpPr/>
            <p:nvPr/>
          </p:nvSpPr>
          <p:spPr>
            <a:xfrm>
              <a:off x="513359" y="3576865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eview who has had past experience with startups in the organization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19" name="Google Shape;1119;g87b7afb683_1_955"/>
            <p:cNvSpPr/>
            <p:nvPr/>
          </p:nvSpPr>
          <p:spPr>
            <a:xfrm>
              <a:off x="1602906" y="364396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arch LinkedIn for type of role</a:t>
              </a:r>
              <a:endParaRPr/>
            </a:p>
          </p:txBody>
        </p:sp>
        <p:sp>
          <p:nvSpPr>
            <p:cNvPr id="1120" name="Google Shape;1120;g87b7afb683_1_955"/>
            <p:cNvSpPr/>
            <p:nvPr/>
          </p:nvSpPr>
          <p:spPr>
            <a:xfrm>
              <a:off x="2793112" y="14583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dentify roadbloclks</a:t>
              </a:r>
              <a:endParaRPr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1" name="Google Shape;1121;g87b7afb683_1_955"/>
            <p:cNvSpPr/>
            <p:nvPr/>
          </p:nvSpPr>
          <p:spPr>
            <a:xfrm>
              <a:off x="3859823" y="1458357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reate new protocol for making decision</a:t>
              </a:r>
              <a:endParaRPr/>
            </a:p>
          </p:txBody>
        </p:sp>
        <p:sp>
          <p:nvSpPr>
            <p:cNvPr id="1122" name="Google Shape;1122;g87b7afb683_1_955"/>
            <p:cNvSpPr/>
            <p:nvPr/>
          </p:nvSpPr>
          <p:spPr>
            <a:xfrm>
              <a:off x="2793112" y="251951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reate and implement a new training program for current staff</a:t>
              </a:r>
              <a:endParaRPr/>
            </a:p>
          </p:txBody>
        </p:sp>
        <p:sp>
          <p:nvSpPr>
            <p:cNvPr id="1123" name="Google Shape;1123;g87b7afb683_1_955"/>
            <p:cNvSpPr/>
            <p:nvPr/>
          </p:nvSpPr>
          <p:spPr>
            <a:xfrm>
              <a:off x="3859823" y="2519514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51428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t up a separate company or joint venture with competitor to bring in Betty</a:t>
              </a:r>
              <a:endParaRPr/>
            </a:p>
          </p:txBody>
        </p:sp>
        <p:sp>
          <p:nvSpPr>
            <p:cNvPr id="1124" name="Google Shape;1124;g87b7afb683_1_955"/>
            <p:cNvSpPr/>
            <p:nvPr/>
          </p:nvSpPr>
          <p:spPr>
            <a:xfrm>
              <a:off x="2805067" y="361366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Decision workflow which has a warning of 5 minutes once the alert is received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5" name="Google Shape;1125;g87b7afb683_1_955"/>
            <p:cNvSpPr/>
            <p:nvPr/>
          </p:nvSpPr>
          <p:spPr>
            <a:xfrm>
              <a:off x="5063793" y="1521652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have some success to change attitudes</a:t>
              </a:r>
              <a:endParaRPr/>
            </a:p>
          </p:txBody>
        </p:sp>
        <p:sp>
          <p:nvSpPr>
            <p:cNvPr id="1126" name="Google Shape;1126;g87b7afb683_1_955"/>
            <p:cNvSpPr/>
            <p:nvPr/>
          </p:nvSpPr>
          <p:spPr>
            <a:xfrm>
              <a:off x="6130504" y="1521652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reate an organization body that can oversee and decide on any ongoing project</a:t>
              </a:r>
              <a:endParaRPr sz="7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7" name="Google Shape;1127;g87b7afb683_1_955"/>
            <p:cNvSpPr/>
            <p:nvPr/>
          </p:nvSpPr>
          <p:spPr>
            <a:xfrm>
              <a:off x="5063793" y="2582809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learly defined requirements at all times based on org cultur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8" name="Google Shape;1128;g87b7afb683_1_955"/>
            <p:cNvSpPr/>
            <p:nvPr/>
          </p:nvSpPr>
          <p:spPr>
            <a:xfrm>
              <a:off x="6130504" y="2582809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eam of interns choose the decision-makers</a:t>
              </a:r>
              <a:endParaRPr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29" name="Google Shape;1129;g87b7afb683_1_955"/>
            <p:cNvSpPr/>
            <p:nvPr/>
          </p:nvSpPr>
          <p:spPr>
            <a:xfrm>
              <a:off x="5041073" y="3624470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Hire a team of decision-makers for startup projects only</a:t>
              </a:r>
              <a:endParaRPr/>
            </a:p>
          </p:txBody>
        </p:sp>
        <p:sp>
          <p:nvSpPr>
            <p:cNvPr id="1130" name="Google Shape;1130;g87b7afb683_1_955"/>
            <p:cNvSpPr/>
            <p:nvPr/>
          </p:nvSpPr>
          <p:spPr>
            <a:xfrm>
              <a:off x="7323915" y="148774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et up a culture that doesn't mind missing once in a while</a:t>
              </a:r>
              <a:endParaRPr/>
            </a:p>
          </p:txBody>
        </p:sp>
        <p:sp>
          <p:nvSpPr>
            <p:cNvPr id="1131" name="Google Shape;1131;g87b7afb683_1_955"/>
            <p:cNvSpPr/>
            <p:nvPr/>
          </p:nvSpPr>
          <p:spPr>
            <a:xfrm>
              <a:off x="8390626" y="1487746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dentify winners and losers on technology</a:t>
              </a:r>
              <a:endParaRPr/>
            </a:p>
          </p:txBody>
        </p:sp>
        <p:sp>
          <p:nvSpPr>
            <p:cNvPr id="1132" name="Google Shape;1132;g87b7afb683_1_955"/>
            <p:cNvSpPr/>
            <p:nvPr/>
          </p:nvSpPr>
          <p:spPr>
            <a:xfrm>
              <a:off x="7323915" y="2548903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No C - levels allowed to make decision on start-ups</a:t>
              </a:r>
              <a:endParaRPr/>
            </a:p>
          </p:txBody>
        </p:sp>
        <p:sp>
          <p:nvSpPr>
            <p:cNvPr id="1133" name="Google Shape;1133;g87b7afb683_1_955"/>
            <p:cNvSpPr/>
            <p:nvPr/>
          </p:nvSpPr>
          <p:spPr>
            <a:xfrm>
              <a:off x="8390626" y="2548903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Only starts up hire startups</a:t>
              </a:r>
              <a:endParaRPr/>
            </a:p>
          </p:txBody>
        </p:sp>
        <p:sp>
          <p:nvSpPr>
            <p:cNvPr id="1134" name="Google Shape;1134;g87b7afb683_1_955"/>
            <p:cNvSpPr/>
            <p:nvPr/>
          </p:nvSpPr>
          <p:spPr>
            <a:xfrm>
              <a:off x="7358749" y="3646843"/>
              <a:ext cx="973500" cy="9096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nternal accelerator program</a:t>
              </a:r>
              <a:endParaRPr/>
            </a:p>
          </p:txBody>
        </p:sp>
        <p:sp>
          <p:nvSpPr>
            <p:cNvPr id="1135" name="Google Shape;1135;g87b7afb683_1_955"/>
            <p:cNvSpPr/>
            <p:nvPr/>
          </p:nvSpPr>
          <p:spPr>
            <a:xfrm>
              <a:off x="6130620" y="3653854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Quarterly meetings dedicated only to startup pitches</a:t>
              </a:r>
              <a:endParaRPr/>
            </a:p>
          </p:txBody>
        </p:sp>
        <p:sp>
          <p:nvSpPr>
            <p:cNvPr id="1136" name="Google Shape;1136;g87b7afb683_1_955"/>
            <p:cNvSpPr/>
            <p:nvPr/>
          </p:nvSpPr>
          <p:spPr>
            <a:xfrm>
              <a:off x="3881495" y="3576865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tart a committee of decision makers</a:t>
              </a:r>
              <a:endParaRPr/>
            </a:p>
          </p:txBody>
        </p:sp>
        <p:sp>
          <p:nvSpPr>
            <p:cNvPr id="1137" name="Google Shape;1137;g87b7afb683_1_955"/>
            <p:cNvSpPr/>
            <p:nvPr/>
          </p:nvSpPr>
          <p:spPr>
            <a:xfrm>
              <a:off x="1602906" y="470512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dentify who is interested in project</a:t>
              </a:r>
              <a:endParaRPr/>
            </a:p>
          </p:txBody>
        </p:sp>
        <p:sp>
          <p:nvSpPr>
            <p:cNvPr id="1138" name="Google Shape;1138;g87b7afb683_1_955"/>
            <p:cNvSpPr/>
            <p:nvPr/>
          </p:nvSpPr>
          <p:spPr>
            <a:xfrm>
              <a:off x="8379745" y="3645581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Evolve to a more agile culture</a:t>
              </a:r>
              <a:endParaRPr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39" name="Google Shape;1139;g87b7afb683_1_955"/>
            <p:cNvSpPr/>
            <p:nvPr/>
          </p:nvSpPr>
          <p:spPr>
            <a:xfrm>
              <a:off x="5049988" y="4666131"/>
              <a:ext cx="973500" cy="909600"/>
            </a:xfrm>
            <a:prstGeom prst="rect">
              <a:avLst/>
            </a:prstGeom>
            <a:solidFill>
              <a:srgbClr val="FAD4D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rain decision makers</a:t>
              </a:r>
              <a:endParaRPr sz="105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0" name="Google Shape;1140;g87b7afb683_1_955"/>
            <p:cNvSpPr/>
            <p:nvPr/>
          </p:nvSpPr>
          <p:spPr>
            <a:xfrm>
              <a:off x="2805067" y="4659975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Define process for bringing startups</a:t>
              </a:r>
              <a:endParaRPr/>
            </a:p>
          </p:txBody>
        </p:sp>
        <p:sp>
          <p:nvSpPr>
            <p:cNvPr id="1141" name="Google Shape;1141;g87b7afb683_1_955"/>
            <p:cNvSpPr/>
            <p:nvPr/>
          </p:nvSpPr>
          <p:spPr>
            <a:xfrm>
              <a:off x="6156551" y="4699449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rain committe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2" name="Google Shape;1142;g87b7afb683_1_955"/>
            <p:cNvSpPr/>
            <p:nvPr/>
          </p:nvSpPr>
          <p:spPr>
            <a:xfrm>
              <a:off x="7358749" y="4722307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reate culture that is open to failur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3" name="Google Shape;1143;g87b7afb683_1_955"/>
            <p:cNvSpPr/>
            <p:nvPr/>
          </p:nvSpPr>
          <p:spPr>
            <a:xfrm>
              <a:off x="10171388" y="2397232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t's ok to fail - no more fear to it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1144" name="Google Shape;1144;g87b7afb683_1_955"/>
            <p:cNvSpPr/>
            <p:nvPr/>
          </p:nvSpPr>
          <p:spPr>
            <a:xfrm>
              <a:off x="3881495" y="4634216"/>
              <a:ext cx="973500" cy="9096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Define the cycle</a:t>
              </a:r>
              <a:endParaRPr/>
            </a:p>
          </p:txBody>
        </p:sp>
        <p:sp>
          <p:nvSpPr>
            <p:cNvPr id="1145" name="Google Shape;1145;g87b7afb683_1_955"/>
            <p:cNvSpPr/>
            <p:nvPr/>
          </p:nvSpPr>
          <p:spPr>
            <a:xfrm>
              <a:off x="2805067" y="569537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reate a multi-function team surrounding project</a:t>
              </a:r>
              <a:endParaRPr/>
            </a:p>
          </p:txBody>
        </p:sp>
        <p:sp>
          <p:nvSpPr>
            <p:cNvPr id="1146" name="Google Shape;1146;g87b7afb683_1_955"/>
            <p:cNvSpPr/>
            <p:nvPr/>
          </p:nvSpPr>
          <p:spPr>
            <a:xfrm>
              <a:off x="1602906" y="569537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ring a coach to train decision makers on innovation</a:t>
              </a:r>
              <a:endParaRPr/>
            </a:p>
          </p:txBody>
        </p:sp>
        <p:sp>
          <p:nvSpPr>
            <p:cNvPr id="1147" name="Google Shape;1147;g87b7afb683_1_955"/>
            <p:cNvSpPr/>
            <p:nvPr/>
          </p:nvSpPr>
          <p:spPr>
            <a:xfrm>
              <a:off x="536195" y="4659975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ring external experts (they've had experience w/start ups)</a:t>
              </a:r>
              <a:endParaRPr/>
            </a:p>
          </p:txBody>
        </p:sp>
        <p:sp>
          <p:nvSpPr>
            <p:cNvPr id="1148" name="Google Shape;1148;g87b7afb683_1_955"/>
            <p:cNvSpPr/>
            <p:nvPr/>
          </p:nvSpPr>
          <p:spPr>
            <a:xfrm>
              <a:off x="3891212" y="5636035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KPIs for Inno managers (Rain)</a:t>
              </a:r>
              <a:endParaRPr/>
            </a:p>
          </p:txBody>
        </p:sp>
        <p:sp>
          <p:nvSpPr>
            <p:cNvPr id="1149" name="Google Shape;1149;g87b7afb683_1_955"/>
            <p:cNvSpPr/>
            <p:nvPr/>
          </p:nvSpPr>
          <p:spPr>
            <a:xfrm>
              <a:off x="5122572" y="5695373"/>
              <a:ext cx="973500" cy="9096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17777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reate an incentive program for DMs</a:t>
              </a:r>
              <a:endParaRPr/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600009E-8814-4EFD-A63B-D748C4B242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45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600009E-8814-4EFD-A63B-D748C4B24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4" name="Google Shape;1154;g87b7afb683_1_1560"/>
          <p:cNvSpPr txBox="1">
            <a:spLocks noGrp="1"/>
          </p:cNvSpPr>
          <p:nvPr>
            <p:ph type="title"/>
          </p:nvPr>
        </p:nvSpPr>
        <p:spPr>
          <a:xfrm>
            <a:off x="404813" y="53816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</a:pPr>
            <a:r>
              <a:rPr lang="en-US" sz="2000" b="1" dirty="0"/>
              <a:t>OUR SOLUTION: A COMMITTEE OF DECISION MAKERS</a:t>
            </a:r>
            <a:endParaRPr sz="2000" b="1" dirty="0"/>
          </a:p>
        </p:txBody>
      </p:sp>
      <p:sp>
        <p:nvSpPr>
          <p:cNvPr id="6" name="Google Shape;1115;g87b7afb683_1_955">
            <a:extLst>
              <a:ext uri="{FF2B5EF4-FFF2-40B4-BE49-F238E27FC236}">
                <a16:creationId xmlns:a16="http://schemas.microsoft.com/office/drawing/2014/main" id="{7CA205E5-BCF6-40AC-A1EE-E61863F5E46D}"/>
              </a:ext>
            </a:extLst>
          </p:cNvPr>
          <p:cNvSpPr/>
          <p:nvPr/>
        </p:nvSpPr>
        <p:spPr>
          <a:xfrm>
            <a:off x="816161" y="2019300"/>
            <a:ext cx="2247900" cy="1203598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1777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 COMMITTEE WITH THE RIGHT PEOPLE</a:t>
            </a:r>
            <a:endParaRPr sz="2800" b="1" dirty="0"/>
          </a:p>
        </p:txBody>
      </p:sp>
      <p:sp>
        <p:nvSpPr>
          <p:cNvPr id="7" name="Google Shape;1115;g87b7afb683_1_955">
            <a:extLst>
              <a:ext uri="{FF2B5EF4-FFF2-40B4-BE49-F238E27FC236}">
                <a16:creationId xmlns:a16="http://schemas.microsoft.com/office/drawing/2014/main" id="{9C724994-2E47-4650-A95F-E5A965CA3240}"/>
              </a:ext>
            </a:extLst>
          </p:cNvPr>
          <p:cNvSpPr/>
          <p:nvPr/>
        </p:nvSpPr>
        <p:spPr>
          <a:xfrm>
            <a:off x="7737285" y="2019300"/>
            <a:ext cx="2247900" cy="1203598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1777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dk1"/>
                </a:solidFill>
                <a:latin typeface="Century Gothic"/>
                <a:sym typeface="Century Gothic"/>
              </a:rPr>
              <a:t>TRAINING FROM INNOVATION COACH</a:t>
            </a:r>
            <a:endParaRPr sz="2800" b="1" dirty="0"/>
          </a:p>
        </p:txBody>
      </p:sp>
      <p:sp>
        <p:nvSpPr>
          <p:cNvPr id="8" name="Google Shape;1115;g87b7afb683_1_955">
            <a:extLst>
              <a:ext uri="{FF2B5EF4-FFF2-40B4-BE49-F238E27FC236}">
                <a16:creationId xmlns:a16="http://schemas.microsoft.com/office/drawing/2014/main" id="{6485F86A-A3D1-4280-ADDB-EE08263888FC}"/>
              </a:ext>
            </a:extLst>
          </p:cNvPr>
          <p:cNvSpPr/>
          <p:nvPr/>
        </p:nvSpPr>
        <p:spPr>
          <a:xfrm>
            <a:off x="4276160" y="2019300"/>
            <a:ext cx="2248463" cy="1203598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1777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dk1"/>
                </a:solidFill>
                <a:latin typeface="Century Gothic"/>
                <a:sym typeface="Century Gothic"/>
              </a:rPr>
              <a:t>A COMMITTEE WITH BUSINESS OBJECTIVES AND INCENTIVES</a:t>
            </a:r>
            <a:endParaRPr sz="2800" b="1" dirty="0"/>
          </a:p>
        </p:txBody>
      </p:sp>
      <p:sp>
        <p:nvSpPr>
          <p:cNvPr id="9" name="Google Shape;1115;g87b7afb683_1_955">
            <a:extLst>
              <a:ext uri="{FF2B5EF4-FFF2-40B4-BE49-F238E27FC236}">
                <a16:creationId xmlns:a16="http://schemas.microsoft.com/office/drawing/2014/main" id="{4F4F5D7C-7951-427D-B9D6-C1669CEF9675}"/>
              </a:ext>
            </a:extLst>
          </p:cNvPr>
          <p:cNvSpPr/>
          <p:nvPr/>
        </p:nvSpPr>
        <p:spPr>
          <a:xfrm>
            <a:off x="815598" y="4116524"/>
            <a:ext cx="2248463" cy="1203598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1777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dk1"/>
                </a:solidFill>
                <a:latin typeface="Century Gothic"/>
                <a:sym typeface="Century Gothic"/>
              </a:rPr>
              <a:t>REGULAR MEETINGS DEDICATED TO STARTUP PITCHES</a:t>
            </a:r>
            <a:endParaRPr sz="2800" b="1" dirty="0"/>
          </a:p>
        </p:txBody>
      </p:sp>
      <p:sp>
        <p:nvSpPr>
          <p:cNvPr id="10" name="Google Shape;1115;g87b7afb683_1_955">
            <a:extLst>
              <a:ext uri="{FF2B5EF4-FFF2-40B4-BE49-F238E27FC236}">
                <a16:creationId xmlns:a16="http://schemas.microsoft.com/office/drawing/2014/main" id="{6CBDCD49-C156-412D-B609-08918DE4658E}"/>
              </a:ext>
            </a:extLst>
          </p:cNvPr>
          <p:cNvSpPr/>
          <p:nvPr/>
        </p:nvSpPr>
        <p:spPr>
          <a:xfrm>
            <a:off x="4276160" y="4116524"/>
            <a:ext cx="2248463" cy="1203598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1777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dk1"/>
                </a:solidFill>
                <a:latin typeface="Century Gothic"/>
                <a:sym typeface="Century Gothic"/>
              </a:rPr>
              <a:t>AN AGILE AND FAIL FAST CULTURE</a:t>
            </a:r>
            <a:endParaRPr sz="2800" b="1" dirty="0"/>
          </a:p>
        </p:txBody>
      </p:sp>
      <p:sp>
        <p:nvSpPr>
          <p:cNvPr id="11" name="Google Shape;1115;g87b7afb683_1_955">
            <a:extLst>
              <a:ext uri="{FF2B5EF4-FFF2-40B4-BE49-F238E27FC236}">
                <a16:creationId xmlns:a16="http://schemas.microsoft.com/office/drawing/2014/main" id="{49F71ABD-57D3-4B0F-A04E-C1BE5A17A43F}"/>
              </a:ext>
            </a:extLst>
          </p:cNvPr>
          <p:cNvSpPr/>
          <p:nvPr/>
        </p:nvSpPr>
        <p:spPr>
          <a:xfrm>
            <a:off x="7736722" y="4116524"/>
            <a:ext cx="2248463" cy="1203598"/>
          </a:xfrm>
          <a:prstGeom prst="rect">
            <a:avLst/>
          </a:prstGeom>
          <a:solidFill>
            <a:srgbClr val="FEF999"/>
          </a:solidFill>
          <a:ln>
            <a:noFill/>
          </a:ln>
          <a:effectLst>
            <a:outerShdw blurRad="50800" dist="12700" dir="2700000" algn="tl" rotWithShape="0">
              <a:srgbClr val="000000">
                <a:alpha val="298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1777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chemeClr val="dk1"/>
                </a:solidFill>
                <a:latin typeface="Century Gothic"/>
                <a:sym typeface="Century Gothic"/>
              </a:rPr>
              <a:t>A WELL DEFINE PROJECT CYCLE TO COLLABORATE WITH STARTUPS</a:t>
            </a:r>
            <a:endParaRPr sz="2800" b="1" dirty="0"/>
          </a:p>
        </p:txBody>
      </p:sp>
      <p:sp>
        <p:nvSpPr>
          <p:cNvPr id="16" name="Google Shape;1154;g87b7afb683_1_1560">
            <a:extLst>
              <a:ext uri="{FF2B5EF4-FFF2-40B4-BE49-F238E27FC236}">
                <a16:creationId xmlns:a16="http://schemas.microsoft.com/office/drawing/2014/main" id="{F51EC0E1-8115-4999-8B13-6DA04B4B2960}"/>
              </a:ext>
            </a:extLst>
          </p:cNvPr>
          <p:cNvSpPr txBox="1">
            <a:spLocks/>
          </p:cNvSpPr>
          <p:nvPr/>
        </p:nvSpPr>
        <p:spPr>
          <a:xfrm>
            <a:off x="815598" y="6230473"/>
            <a:ext cx="9852402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SzPts val="1600"/>
            </a:pPr>
            <a:r>
              <a:rPr lang="en-CA" sz="2000" b="1" dirty="0"/>
              <a:t>WE WANT YOUR FEEDBACK!!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Shape 1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66ED8C-F104-4CD4-9991-4F2EC30CF0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7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66ED8C-F104-4CD4-9991-4F2EC30CF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6" name="Google Shape;1176;g87b7afb683_1_1579"/>
          <p:cNvSpPr txBox="1"/>
          <p:nvPr/>
        </p:nvSpPr>
        <p:spPr>
          <a:xfrm>
            <a:off x="442913" y="942975"/>
            <a:ext cx="5431200" cy="5149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150000"/>
              </a:lnSpc>
              <a:buClr>
                <a:srgbClr val="0C0C0C"/>
              </a:buClr>
              <a:buSzPts val="1800"/>
            </a:pPr>
            <a:r>
              <a:rPr lang="en-US" sz="4800" b="1" dirty="0">
                <a:solidFill>
                  <a:schemeClr val="tx1"/>
                </a:solidFill>
                <a:latin typeface="Century Gothic"/>
                <a:sym typeface="Century Gothic"/>
              </a:rPr>
              <a:t>What we learned!</a:t>
            </a:r>
            <a:endParaRPr b="1" dirty="0">
              <a:solidFill>
                <a:schemeClr val="tx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1800"/>
            </a:pPr>
            <a:r>
              <a:rPr lang="en-US" sz="1800" u="sng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op learnings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Empathy is key to finding solution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peed is important for working with startups 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How many pain points there can be in the process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Gaining perspective (walking in their shoes)</a:t>
            </a:r>
            <a:endParaRPr sz="1800" dirty="0">
              <a:solidFill>
                <a:srgbClr val="33303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  <p:transition spd="slow">
    <p:push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4" name="Google Shape;1194;p18"/>
          <p:cNvPicPr preferRelativeResize="0"/>
          <p:nvPr/>
        </p:nvPicPr>
        <p:blipFill rotWithShape="1">
          <a:blip r:embed="rId3">
            <a:alphaModFix amt="20000"/>
          </a:blip>
          <a:srcRect l="5185"/>
          <a:stretch/>
        </p:blipFill>
        <p:spPr>
          <a:xfrm>
            <a:off x="353" y="0"/>
            <a:ext cx="12194823" cy="6859588"/>
          </a:xfrm>
          <a:prstGeom prst="rect">
            <a:avLst/>
          </a:prstGeom>
          <a:noFill/>
          <a:ln>
            <a:noFill/>
          </a:ln>
        </p:spPr>
      </p:pic>
      <p:sp>
        <p:nvSpPr>
          <p:cNvPr id="1195" name="Google Shape;1195;p18"/>
          <p:cNvSpPr txBox="1"/>
          <p:nvPr/>
        </p:nvSpPr>
        <p:spPr>
          <a:xfrm>
            <a:off x="1924021" y="2399749"/>
            <a:ext cx="8343958" cy="2060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200"/>
              </a:buClr>
              <a:buSzPts val="5400"/>
              <a:buFont typeface="Century Gothic"/>
              <a:buNone/>
            </a:pPr>
            <a:r>
              <a:rPr lang="en-US" sz="5400" b="1" i="0" u="none" strike="noStrike" cap="none">
                <a:solidFill>
                  <a:srgbClr val="FFF2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HANK YOU</a:t>
            </a:r>
            <a:endParaRPr sz="5400" b="1" i="0" u="none" strike="noStrike" cap="none">
              <a:solidFill>
                <a:srgbClr val="FFF2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96" name="Google Shape;1196;p18"/>
          <p:cNvSpPr txBox="1"/>
          <p:nvPr/>
        </p:nvSpPr>
        <p:spPr>
          <a:xfrm>
            <a:off x="2749470" y="4392342"/>
            <a:ext cx="6770007" cy="1118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1"/>
              <a:buFont typeface="Arial"/>
              <a:buNone/>
            </a:pPr>
            <a:endParaRPr sz="2801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llaborating with InsurTech Startup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ay 29th, 2020</a:t>
            </a: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3" name="Google Shape;833;g87b7afb683_0_237"/>
          <p:cNvGrpSpPr/>
          <p:nvPr/>
        </p:nvGrpSpPr>
        <p:grpSpPr>
          <a:xfrm>
            <a:off x="3685473" y="1580098"/>
            <a:ext cx="1692354" cy="1273725"/>
            <a:chOff x="3192463" y="1558925"/>
            <a:chExt cx="1095375" cy="796925"/>
          </a:xfrm>
        </p:grpSpPr>
        <p:sp>
          <p:nvSpPr>
            <p:cNvPr id="834" name="Google Shape;834;g87b7afb683_0_237"/>
            <p:cNvSpPr/>
            <p:nvPr/>
          </p:nvSpPr>
          <p:spPr>
            <a:xfrm>
              <a:off x="3735388" y="1601788"/>
              <a:ext cx="12700" cy="31750"/>
            </a:xfrm>
            <a:custGeom>
              <a:avLst/>
              <a:gdLst/>
              <a:ahLst/>
              <a:cxnLst/>
              <a:rect l="l" t="t" r="r" b="b"/>
              <a:pathLst>
                <a:path w="36" h="86" extrusionOk="0">
                  <a:moveTo>
                    <a:pt x="35" y="0"/>
                  </a:moveTo>
                  <a:lnTo>
                    <a:pt x="35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5" name="Google Shape;835;g87b7afb683_0_237"/>
            <p:cNvSpPr/>
            <p:nvPr/>
          </p:nvSpPr>
          <p:spPr>
            <a:xfrm>
              <a:off x="3589338" y="1558925"/>
              <a:ext cx="169861" cy="342901"/>
            </a:xfrm>
            <a:custGeom>
              <a:avLst/>
              <a:gdLst/>
              <a:ahLst/>
              <a:cxnLst/>
              <a:rect l="l" t="t" r="r" b="b"/>
              <a:pathLst>
                <a:path w="471" h="952" extrusionOk="0">
                  <a:moveTo>
                    <a:pt x="121" y="454"/>
                  </a:moveTo>
                  <a:cubicBezTo>
                    <a:pt x="124" y="609"/>
                    <a:pt x="223" y="748"/>
                    <a:pt x="367" y="796"/>
                  </a:cubicBezTo>
                  <a:cubicBezTo>
                    <a:pt x="364" y="852"/>
                    <a:pt x="361" y="903"/>
                    <a:pt x="361" y="951"/>
                  </a:cubicBezTo>
                  <a:cubicBezTo>
                    <a:pt x="150" y="894"/>
                    <a:pt x="0" y="700"/>
                    <a:pt x="0" y="480"/>
                  </a:cubicBezTo>
                  <a:cubicBezTo>
                    <a:pt x="0" y="220"/>
                    <a:pt x="209" y="6"/>
                    <a:pt x="470" y="0"/>
                  </a:cubicBezTo>
                  <a:lnTo>
                    <a:pt x="470" y="51"/>
                  </a:lnTo>
                  <a:lnTo>
                    <a:pt x="404" y="102"/>
                  </a:lnTo>
                  <a:cubicBezTo>
                    <a:pt x="237" y="138"/>
                    <a:pt x="119" y="285"/>
                    <a:pt x="121" y="454"/>
                  </a:cubicBezTo>
                  <a:lnTo>
                    <a:pt x="121" y="454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6" name="Google Shape;836;g87b7afb683_0_237"/>
            <p:cNvSpPr/>
            <p:nvPr/>
          </p:nvSpPr>
          <p:spPr>
            <a:xfrm>
              <a:off x="3673475" y="1630363"/>
              <a:ext cx="60325" cy="141287"/>
            </a:xfrm>
            <a:custGeom>
              <a:avLst/>
              <a:gdLst/>
              <a:ahLst/>
              <a:cxnLst/>
              <a:rect l="l" t="t" r="r" b="b"/>
              <a:pathLst>
                <a:path w="168" h="391" extrusionOk="0">
                  <a:moveTo>
                    <a:pt x="124" y="102"/>
                  </a:moveTo>
                  <a:cubicBezTo>
                    <a:pt x="150" y="108"/>
                    <a:pt x="167" y="130"/>
                    <a:pt x="164" y="156"/>
                  </a:cubicBezTo>
                  <a:cubicBezTo>
                    <a:pt x="161" y="192"/>
                    <a:pt x="153" y="277"/>
                    <a:pt x="150" y="390"/>
                  </a:cubicBezTo>
                  <a:cubicBezTo>
                    <a:pt x="116" y="373"/>
                    <a:pt x="88" y="350"/>
                    <a:pt x="68" y="319"/>
                  </a:cubicBezTo>
                  <a:cubicBezTo>
                    <a:pt x="0" y="220"/>
                    <a:pt x="26" y="85"/>
                    <a:pt x="124" y="17"/>
                  </a:cubicBezTo>
                  <a:cubicBezTo>
                    <a:pt x="136" y="12"/>
                    <a:pt x="144" y="6"/>
                    <a:pt x="155" y="0"/>
                  </a:cubicBezTo>
                  <a:lnTo>
                    <a:pt x="155" y="31"/>
                  </a:lnTo>
                  <a:lnTo>
                    <a:pt x="124" y="31"/>
                  </a:lnTo>
                  <a:lnTo>
                    <a:pt x="124" y="102"/>
                  </a:lnTo>
                  <a:lnTo>
                    <a:pt x="124" y="102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7" name="Google Shape;837;g87b7afb683_0_237"/>
            <p:cNvSpPr/>
            <p:nvPr/>
          </p:nvSpPr>
          <p:spPr>
            <a:xfrm>
              <a:off x="3630613" y="1606550"/>
              <a:ext cx="100012" cy="227013"/>
            </a:xfrm>
            <a:custGeom>
              <a:avLst/>
              <a:gdLst/>
              <a:ahLst/>
              <a:cxnLst/>
              <a:rect l="l" t="t" r="r" b="b"/>
              <a:pathLst>
                <a:path w="277" h="631" extrusionOk="0">
                  <a:moveTo>
                    <a:pt x="121" y="260"/>
                  </a:moveTo>
                  <a:cubicBezTo>
                    <a:pt x="121" y="359"/>
                    <a:pt x="178" y="446"/>
                    <a:pt x="265" y="483"/>
                  </a:cubicBezTo>
                  <a:cubicBezTo>
                    <a:pt x="262" y="531"/>
                    <a:pt x="262" y="582"/>
                    <a:pt x="260" y="630"/>
                  </a:cubicBezTo>
                  <a:cubicBezTo>
                    <a:pt x="161" y="596"/>
                    <a:pt x="85" y="514"/>
                    <a:pt x="54" y="412"/>
                  </a:cubicBezTo>
                  <a:cubicBezTo>
                    <a:pt x="0" y="237"/>
                    <a:pt x="102" y="51"/>
                    <a:pt x="276" y="0"/>
                  </a:cubicBezTo>
                  <a:lnTo>
                    <a:pt x="276" y="34"/>
                  </a:lnTo>
                  <a:cubicBezTo>
                    <a:pt x="183" y="68"/>
                    <a:pt x="121" y="158"/>
                    <a:pt x="121" y="260"/>
                  </a:cubicBezTo>
                  <a:lnTo>
                    <a:pt x="121" y="260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8" name="Google Shape;838;g87b7afb683_0_237"/>
            <p:cNvSpPr/>
            <p:nvPr/>
          </p:nvSpPr>
          <p:spPr>
            <a:xfrm>
              <a:off x="3756025" y="1601788"/>
              <a:ext cx="12700" cy="31750"/>
            </a:xfrm>
            <a:custGeom>
              <a:avLst/>
              <a:gdLst/>
              <a:ahLst/>
              <a:cxnLst/>
              <a:rect l="l" t="t" r="r" b="b"/>
              <a:pathLst>
                <a:path w="37" h="86" extrusionOk="0">
                  <a:moveTo>
                    <a:pt x="36" y="0"/>
                  </a:moveTo>
                  <a:lnTo>
                    <a:pt x="36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36" y="0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9" name="Google Shape;839;g87b7afb683_0_237"/>
            <p:cNvSpPr/>
            <p:nvPr/>
          </p:nvSpPr>
          <p:spPr>
            <a:xfrm>
              <a:off x="3767138" y="1558925"/>
              <a:ext cx="169862" cy="342901"/>
            </a:xfrm>
            <a:custGeom>
              <a:avLst/>
              <a:gdLst/>
              <a:ahLst/>
              <a:cxnLst/>
              <a:rect l="l" t="t" r="r" b="b"/>
              <a:pathLst>
                <a:path w="472" h="952" extrusionOk="0">
                  <a:moveTo>
                    <a:pt x="0" y="0"/>
                  </a:moveTo>
                  <a:cubicBezTo>
                    <a:pt x="262" y="6"/>
                    <a:pt x="471" y="220"/>
                    <a:pt x="468" y="480"/>
                  </a:cubicBezTo>
                  <a:cubicBezTo>
                    <a:pt x="468" y="700"/>
                    <a:pt x="319" y="894"/>
                    <a:pt x="107" y="951"/>
                  </a:cubicBezTo>
                  <a:cubicBezTo>
                    <a:pt x="104" y="903"/>
                    <a:pt x="101" y="852"/>
                    <a:pt x="101" y="796"/>
                  </a:cubicBezTo>
                  <a:cubicBezTo>
                    <a:pt x="223" y="756"/>
                    <a:pt x="313" y="655"/>
                    <a:pt x="341" y="530"/>
                  </a:cubicBezTo>
                  <a:cubicBezTo>
                    <a:pt x="384" y="336"/>
                    <a:pt x="259" y="144"/>
                    <a:pt x="65" y="102"/>
                  </a:cubicBezTo>
                  <a:lnTo>
                    <a:pt x="0" y="5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0" name="Google Shape;840;g87b7afb683_0_237"/>
            <p:cNvSpPr/>
            <p:nvPr/>
          </p:nvSpPr>
          <p:spPr>
            <a:xfrm>
              <a:off x="3795713" y="1606550"/>
              <a:ext cx="85725" cy="227013"/>
            </a:xfrm>
            <a:custGeom>
              <a:avLst/>
              <a:gdLst/>
              <a:ahLst/>
              <a:cxnLst/>
              <a:rect l="l" t="t" r="r" b="b"/>
              <a:pathLst>
                <a:path w="238" h="631" extrusionOk="0">
                  <a:moveTo>
                    <a:pt x="237" y="319"/>
                  </a:moveTo>
                  <a:cubicBezTo>
                    <a:pt x="237" y="458"/>
                    <a:pt x="149" y="584"/>
                    <a:pt x="17" y="630"/>
                  </a:cubicBezTo>
                  <a:cubicBezTo>
                    <a:pt x="11" y="582"/>
                    <a:pt x="8" y="531"/>
                    <a:pt x="5" y="483"/>
                  </a:cubicBezTo>
                  <a:cubicBezTo>
                    <a:pt x="96" y="446"/>
                    <a:pt x="152" y="356"/>
                    <a:pt x="152" y="260"/>
                  </a:cubicBezTo>
                  <a:cubicBezTo>
                    <a:pt x="152" y="161"/>
                    <a:pt x="93" y="71"/>
                    <a:pt x="0" y="34"/>
                  </a:cubicBezTo>
                  <a:lnTo>
                    <a:pt x="0" y="0"/>
                  </a:lnTo>
                  <a:cubicBezTo>
                    <a:pt x="141" y="43"/>
                    <a:pt x="237" y="173"/>
                    <a:pt x="237" y="319"/>
                  </a:cubicBezTo>
                  <a:lnTo>
                    <a:pt x="237" y="319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1" name="Google Shape;841;g87b7afb683_0_237"/>
            <p:cNvSpPr/>
            <p:nvPr/>
          </p:nvSpPr>
          <p:spPr>
            <a:xfrm>
              <a:off x="3778250" y="1601788"/>
              <a:ext cx="12700" cy="31750"/>
            </a:xfrm>
            <a:custGeom>
              <a:avLst/>
              <a:gdLst/>
              <a:ahLst/>
              <a:cxnLst/>
              <a:rect l="l" t="t" r="r" b="b"/>
              <a:pathLst>
                <a:path w="35" h="86" extrusionOk="0">
                  <a:moveTo>
                    <a:pt x="34" y="0"/>
                  </a:moveTo>
                  <a:lnTo>
                    <a:pt x="34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34" y="0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2" name="Google Shape;842;g87b7afb683_0_237"/>
            <p:cNvSpPr/>
            <p:nvPr/>
          </p:nvSpPr>
          <p:spPr>
            <a:xfrm>
              <a:off x="3792538" y="1630363"/>
              <a:ext cx="47625" cy="141287"/>
            </a:xfrm>
            <a:custGeom>
              <a:avLst/>
              <a:gdLst/>
              <a:ahLst/>
              <a:cxnLst/>
              <a:rect l="l" t="t" r="r" b="b"/>
              <a:pathLst>
                <a:path w="134" h="391" extrusionOk="0">
                  <a:moveTo>
                    <a:pt x="40" y="17"/>
                  </a:moveTo>
                  <a:cubicBezTo>
                    <a:pt x="96" y="60"/>
                    <a:pt x="130" y="124"/>
                    <a:pt x="133" y="198"/>
                  </a:cubicBezTo>
                  <a:cubicBezTo>
                    <a:pt x="133" y="277"/>
                    <a:pt x="88" y="350"/>
                    <a:pt x="17" y="390"/>
                  </a:cubicBezTo>
                  <a:cubicBezTo>
                    <a:pt x="9" y="277"/>
                    <a:pt x="6" y="192"/>
                    <a:pt x="3" y="156"/>
                  </a:cubicBezTo>
                  <a:cubicBezTo>
                    <a:pt x="0" y="130"/>
                    <a:pt x="14" y="108"/>
                    <a:pt x="40" y="102"/>
                  </a:cubicBezTo>
                  <a:lnTo>
                    <a:pt x="40" y="31"/>
                  </a:lnTo>
                  <a:lnTo>
                    <a:pt x="9" y="31"/>
                  </a:lnTo>
                  <a:lnTo>
                    <a:pt x="9" y="0"/>
                  </a:lnTo>
                  <a:cubicBezTo>
                    <a:pt x="20" y="3"/>
                    <a:pt x="28" y="9"/>
                    <a:pt x="37" y="17"/>
                  </a:cubicBezTo>
                  <a:lnTo>
                    <a:pt x="40" y="17"/>
                  </a:lnTo>
                </a:path>
              </a:pathLst>
            </a:custGeom>
            <a:solidFill>
              <a:srgbClr val="1477C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3" name="Google Shape;843;g87b7afb683_0_237"/>
            <p:cNvSpPr/>
            <p:nvPr/>
          </p:nvSpPr>
          <p:spPr>
            <a:xfrm>
              <a:off x="4127500" y="1968500"/>
              <a:ext cx="160338" cy="217488"/>
            </a:xfrm>
            <a:custGeom>
              <a:avLst/>
              <a:gdLst/>
              <a:ahLst/>
              <a:cxnLst/>
              <a:rect l="l" t="t" r="r" b="b"/>
              <a:pathLst>
                <a:path w="447" h="602" extrusionOk="0">
                  <a:moveTo>
                    <a:pt x="384" y="155"/>
                  </a:moveTo>
                  <a:cubicBezTo>
                    <a:pt x="381" y="155"/>
                    <a:pt x="378" y="152"/>
                    <a:pt x="378" y="149"/>
                  </a:cubicBezTo>
                  <a:lnTo>
                    <a:pt x="378" y="141"/>
                  </a:lnTo>
                  <a:cubicBezTo>
                    <a:pt x="367" y="25"/>
                    <a:pt x="240" y="22"/>
                    <a:pt x="226" y="22"/>
                  </a:cubicBezTo>
                  <a:cubicBezTo>
                    <a:pt x="102" y="22"/>
                    <a:pt x="96" y="116"/>
                    <a:pt x="96" y="135"/>
                  </a:cubicBezTo>
                  <a:cubicBezTo>
                    <a:pt x="96" y="192"/>
                    <a:pt x="150" y="209"/>
                    <a:pt x="215" y="226"/>
                  </a:cubicBezTo>
                  <a:cubicBezTo>
                    <a:pt x="232" y="228"/>
                    <a:pt x="249" y="234"/>
                    <a:pt x="265" y="243"/>
                  </a:cubicBezTo>
                  <a:cubicBezTo>
                    <a:pt x="395" y="282"/>
                    <a:pt x="446" y="347"/>
                    <a:pt x="446" y="434"/>
                  </a:cubicBezTo>
                  <a:cubicBezTo>
                    <a:pt x="446" y="516"/>
                    <a:pt x="364" y="598"/>
                    <a:pt x="215" y="598"/>
                  </a:cubicBezTo>
                  <a:cubicBezTo>
                    <a:pt x="167" y="598"/>
                    <a:pt x="119" y="590"/>
                    <a:pt x="74" y="578"/>
                  </a:cubicBezTo>
                  <a:lnTo>
                    <a:pt x="71" y="578"/>
                  </a:lnTo>
                  <a:cubicBezTo>
                    <a:pt x="62" y="578"/>
                    <a:pt x="59" y="575"/>
                    <a:pt x="57" y="575"/>
                  </a:cubicBezTo>
                  <a:cubicBezTo>
                    <a:pt x="51" y="575"/>
                    <a:pt x="51" y="578"/>
                    <a:pt x="51" y="581"/>
                  </a:cubicBezTo>
                  <a:lnTo>
                    <a:pt x="51" y="587"/>
                  </a:lnTo>
                  <a:cubicBezTo>
                    <a:pt x="51" y="592"/>
                    <a:pt x="51" y="595"/>
                    <a:pt x="48" y="598"/>
                  </a:cubicBezTo>
                  <a:cubicBezTo>
                    <a:pt x="45" y="601"/>
                    <a:pt x="45" y="601"/>
                    <a:pt x="43" y="601"/>
                  </a:cubicBezTo>
                  <a:lnTo>
                    <a:pt x="40" y="601"/>
                  </a:lnTo>
                  <a:cubicBezTo>
                    <a:pt x="34" y="601"/>
                    <a:pt x="28" y="592"/>
                    <a:pt x="28" y="587"/>
                  </a:cubicBezTo>
                  <a:cubicBezTo>
                    <a:pt x="26" y="536"/>
                    <a:pt x="17" y="488"/>
                    <a:pt x="0" y="440"/>
                  </a:cubicBezTo>
                  <a:lnTo>
                    <a:pt x="0" y="426"/>
                  </a:lnTo>
                  <a:cubicBezTo>
                    <a:pt x="3" y="423"/>
                    <a:pt x="3" y="423"/>
                    <a:pt x="6" y="423"/>
                  </a:cubicBezTo>
                  <a:cubicBezTo>
                    <a:pt x="14" y="417"/>
                    <a:pt x="20" y="423"/>
                    <a:pt x="20" y="429"/>
                  </a:cubicBezTo>
                  <a:cubicBezTo>
                    <a:pt x="43" y="488"/>
                    <a:pt x="48" y="505"/>
                    <a:pt x="82" y="525"/>
                  </a:cubicBezTo>
                  <a:cubicBezTo>
                    <a:pt x="130" y="553"/>
                    <a:pt x="184" y="567"/>
                    <a:pt x="240" y="570"/>
                  </a:cubicBezTo>
                  <a:cubicBezTo>
                    <a:pt x="246" y="570"/>
                    <a:pt x="375" y="567"/>
                    <a:pt x="375" y="463"/>
                  </a:cubicBezTo>
                  <a:cubicBezTo>
                    <a:pt x="375" y="375"/>
                    <a:pt x="319" y="338"/>
                    <a:pt x="229" y="307"/>
                  </a:cubicBezTo>
                  <a:cubicBezTo>
                    <a:pt x="223" y="305"/>
                    <a:pt x="217" y="302"/>
                    <a:pt x="209" y="302"/>
                  </a:cubicBezTo>
                  <a:cubicBezTo>
                    <a:pt x="122" y="268"/>
                    <a:pt x="34" y="243"/>
                    <a:pt x="34" y="164"/>
                  </a:cubicBezTo>
                  <a:cubicBezTo>
                    <a:pt x="31" y="124"/>
                    <a:pt x="45" y="87"/>
                    <a:pt x="74" y="59"/>
                  </a:cubicBezTo>
                  <a:cubicBezTo>
                    <a:pt x="116" y="20"/>
                    <a:pt x="172" y="0"/>
                    <a:pt x="232" y="3"/>
                  </a:cubicBezTo>
                  <a:cubicBezTo>
                    <a:pt x="260" y="3"/>
                    <a:pt x="288" y="8"/>
                    <a:pt x="313" y="17"/>
                  </a:cubicBezTo>
                  <a:lnTo>
                    <a:pt x="330" y="20"/>
                  </a:lnTo>
                  <a:cubicBezTo>
                    <a:pt x="336" y="20"/>
                    <a:pt x="344" y="22"/>
                    <a:pt x="353" y="22"/>
                  </a:cubicBezTo>
                  <a:cubicBezTo>
                    <a:pt x="364" y="20"/>
                    <a:pt x="376" y="17"/>
                    <a:pt x="384" y="11"/>
                  </a:cubicBezTo>
                  <a:cubicBezTo>
                    <a:pt x="393" y="6"/>
                    <a:pt x="395" y="8"/>
                    <a:pt x="398" y="8"/>
                  </a:cubicBezTo>
                  <a:lnTo>
                    <a:pt x="398" y="22"/>
                  </a:lnTo>
                  <a:cubicBezTo>
                    <a:pt x="395" y="45"/>
                    <a:pt x="392" y="65"/>
                    <a:pt x="392" y="87"/>
                  </a:cubicBezTo>
                  <a:cubicBezTo>
                    <a:pt x="392" y="96"/>
                    <a:pt x="395" y="105"/>
                    <a:pt x="395" y="116"/>
                  </a:cubicBezTo>
                  <a:cubicBezTo>
                    <a:pt x="395" y="128"/>
                    <a:pt x="395" y="135"/>
                    <a:pt x="398" y="147"/>
                  </a:cubicBezTo>
                  <a:cubicBezTo>
                    <a:pt x="398" y="147"/>
                    <a:pt x="398" y="149"/>
                    <a:pt x="395" y="149"/>
                  </a:cubicBezTo>
                  <a:cubicBezTo>
                    <a:pt x="395" y="155"/>
                    <a:pt x="390" y="155"/>
                    <a:pt x="384" y="155"/>
                  </a:cubicBez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4" name="Google Shape;844;g87b7afb683_0_237"/>
            <p:cNvSpPr/>
            <p:nvPr/>
          </p:nvSpPr>
          <p:spPr>
            <a:xfrm>
              <a:off x="3659188" y="1968500"/>
              <a:ext cx="227011" cy="217488"/>
            </a:xfrm>
            <a:custGeom>
              <a:avLst/>
              <a:gdLst/>
              <a:ahLst/>
              <a:cxnLst/>
              <a:rect l="l" t="t" r="r" b="b"/>
              <a:pathLst>
                <a:path w="632" h="605" extrusionOk="0">
                  <a:moveTo>
                    <a:pt x="611" y="305"/>
                  </a:moveTo>
                  <a:cubicBezTo>
                    <a:pt x="617" y="307"/>
                    <a:pt x="622" y="310"/>
                    <a:pt x="631" y="319"/>
                  </a:cubicBezTo>
                  <a:cubicBezTo>
                    <a:pt x="631" y="327"/>
                    <a:pt x="628" y="330"/>
                    <a:pt x="625" y="330"/>
                  </a:cubicBezTo>
                  <a:cubicBezTo>
                    <a:pt x="625" y="330"/>
                    <a:pt x="622" y="333"/>
                    <a:pt x="619" y="333"/>
                  </a:cubicBezTo>
                  <a:cubicBezTo>
                    <a:pt x="603" y="336"/>
                    <a:pt x="594" y="342"/>
                    <a:pt x="591" y="350"/>
                  </a:cubicBezTo>
                  <a:cubicBezTo>
                    <a:pt x="588" y="359"/>
                    <a:pt x="588" y="372"/>
                    <a:pt x="588" y="471"/>
                  </a:cubicBezTo>
                  <a:cubicBezTo>
                    <a:pt x="588" y="544"/>
                    <a:pt x="591" y="550"/>
                    <a:pt x="605" y="561"/>
                  </a:cubicBezTo>
                  <a:lnTo>
                    <a:pt x="608" y="561"/>
                  </a:lnTo>
                  <a:cubicBezTo>
                    <a:pt x="611" y="567"/>
                    <a:pt x="614" y="567"/>
                    <a:pt x="611" y="573"/>
                  </a:cubicBezTo>
                  <a:cubicBezTo>
                    <a:pt x="608" y="575"/>
                    <a:pt x="603" y="575"/>
                    <a:pt x="600" y="575"/>
                  </a:cubicBezTo>
                  <a:lnTo>
                    <a:pt x="594" y="578"/>
                  </a:lnTo>
                  <a:cubicBezTo>
                    <a:pt x="580" y="578"/>
                    <a:pt x="557" y="584"/>
                    <a:pt x="543" y="584"/>
                  </a:cubicBezTo>
                  <a:lnTo>
                    <a:pt x="532" y="587"/>
                  </a:lnTo>
                  <a:cubicBezTo>
                    <a:pt x="470" y="598"/>
                    <a:pt x="411" y="604"/>
                    <a:pt x="349" y="604"/>
                  </a:cubicBezTo>
                  <a:cubicBezTo>
                    <a:pt x="113" y="604"/>
                    <a:pt x="0" y="451"/>
                    <a:pt x="0" y="305"/>
                  </a:cubicBezTo>
                  <a:cubicBezTo>
                    <a:pt x="0" y="104"/>
                    <a:pt x="186" y="0"/>
                    <a:pt x="368" y="0"/>
                  </a:cubicBezTo>
                  <a:cubicBezTo>
                    <a:pt x="414" y="0"/>
                    <a:pt x="461" y="8"/>
                    <a:pt x="504" y="22"/>
                  </a:cubicBezTo>
                  <a:lnTo>
                    <a:pt x="518" y="22"/>
                  </a:lnTo>
                  <a:cubicBezTo>
                    <a:pt x="521" y="17"/>
                    <a:pt x="521" y="14"/>
                    <a:pt x="524" y="11"/>
                  </a:cubicBezTo>
                  <a:cubicBezTo>
                    <a:pt x="535" y="3"/>
                    <a:pt x="538" y="0"/>
                    <a:pt x="540" y="0"/>
                  </a:cubicBezTo>
                  <a:cubicBezTo>
                    <a:pt x="552" y="0"/>
                    <a:pt x="552" y="8"/>
                    <a:pt x="552" y="20"/>
                  </a:cubicBezTo>
                  <a:cubicBezTo>
                    <a:pt x="552" y="42"/>
                    <a:pt x="552" y="65"/>
                    <a:pt x="557" y="87"/>
                  </a:cubicBezTo>
                  <a:cubicBezTo>
                    <a:pt x="560" y="104"/>
                    <a:pt x="563" y="118"/>
                    <a:pt x="563" y="135"/>
                  </a:cubicBezTo>
                  <a:lnTo>
                    <a:pt x="563" y="138"/>
                  </a:lnTo>
                  <a:cubicBezTo>
                    <a:pt x="560" y="144"/>
                    <a:pt x="557" y="147"/>
                    <a:pt x="552" y="147"/>
                  </a:cubicBezTo>
                  <a:cubicBezTo>
                    <a:pt x="543" y="147"/>
                    <a:pt x="540" y="141"/>
                    <a:pt x="538" y="135"/>
                  </a:cubicBezTo>
                  <a:cubicBezTo>
                    <a:pt x="526" y="110"/>
                    <a:pt x="476" y="28"/>
                    <a:pt x="340" y="28"/>
                  </a:cubicBezTo>
                  <a:cubicBezTo>
                    <a:pt x="337" y="28"/>
                    <a:pt x="337" y="28"/>
                    <a:pt x="335" y="28"/>
                  </a:cubicBezTo>
                  <a:cubicBezTo>
                    <a:pt x="192" y="31"/>
                    <a:pt x="76" y="149"/>
                    <a:pt x="76" y="293"/>
                  </a:cubicBezTo>
                  <a:cubicBezTo>
                    <a:pt x="76" y="409"/>
                    <a:pt x="175" y="575"/>
                    <a:pt x="360" y="575"/>
                  </a:cubicBezTo>
                  <a:cubicBezTo>
                    <a:pt x="436" y="575"/>
                    <a:pt x="487" y="544"/>
                    <a:pt x="498" y="530"/>
                  </a:cubicBezTo>
                  <a:cubicBezTo>
                    <a:pt x="504" y="525"/>
                    <a:pt x="504" y="525"/>
                    <a:pt x="504" y="443"/>
                  </a:cubicBezTo>
                  <a:cubicBezTo>
                    <a:pt x="504" y="347"/>
                    <a:pt x="501" y="336"/>
                    <a:pt x="419" y="336"/>
                  </a:cubicBezTo>
                  <a:lnTo>
                    <a:pt x="388" y="336"/>
                  </a:lnTo>
                  <a:cubicBezTo>
                    <a:pt x="380" y="336"/>
                    <a:pt x="374" y="330"/>
                    <a:pt x="374" y="324"/>
                  </a:cubicBezTo>
                  <a:cubicBezTo>
                    <a:pt x="374" y="316"/>
                    <a:pt x="380" y="310"/>
                    <a:pt x="388" y="310"/>
                  </a:cubicBezTo>
                  <a:lnTo>
                    <a:pt x="411" y="310"/>
                  </a:lnTo>
                  <a:cubicBezTo>
                    <a:pt x="495" y="307"/>
                    <a:pt x="546" y="307"/>
                    <a:pt x="600" y="305"/>
                  </a:cubicBezTo>
                  <a:lnTo>
                    <a:pt x="611" y="305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5" name="Google Shape;845;g87b7afb683_0_237"/>
            <p:cNvSpPr/>
            <p:nvPr/>
          </p:nvSpPr>
          <p:spPr>
            <a:xfrm>
              <a:off x="3192463" y="1941513"/>
              <a:ext cx="601661" cy="277812"/>
            </a:xfrm>
            <a:custGeom>
              <a:avLst/>
              <a:gdLst/>
              <a:ahLst/>
              <a:cxnLst/>
              <a:rect l="l" t="t" r="r" b="b"/>
              <a:pathLst>
                <a:path w="1673" h="770" extrusionOk="0">
                  <a:moveTo>
                    <a:pt x="488" y="444"/>
                  </a:moveTo>
                  <a:cubicBezTo>
                    <a:pt x="488" y="444"/>
                    <a:pt x="434" y="442"/>
                    <a:pt x="350" y="447"/>
                  </a:cubicBezTo>
                  <a:cubicBezTo>
                    <a:pt x="305" y="444"/>
                    <a:pt x="262" y="447"/>
                    <a:pt x="220" y="453"/>
                  </a:cubicBezTo>
                  <a:cubicBezTo>
                    <a:pt x="220" y="453"/>
                    <a:pt x="200" y="490"/>
                    <a:pt x="175" y="543"/>
                  </a:cubicBezTo>
                  <a:cubicBezTo>
                    <a:pt x="150" y="597"/>
                    <a:pt x="147" y="606"/>
                    <a:pt x="147" y="617"/>
                  </a:cubicBezTo>
                  <a:cubicBezTo>
                    <a:pt x="147" y="629"/>
                    <a:pt x="147" y="645"/>
                    <a:pt x="214" y="656"/>
                  </a:cubicBezTo>
                  <a:lnTo>
                    <a:pt x="226" y="659"/>
                  </a:lnTo>
                  <a:cubicBezTo>
                    <a:pt x="231" y="659"/>
                    <a:pt x="243" y="662"/>
                    <a:pt x="243" y="673"/>
                  </a:cubicBezTo>
                  <a:cubicBezTo>
                    <a:pt x="243" y="679"/>
                    <a:pt x="234" y="681"/>
                    <a:pt x="223" y="679"/>
                  </a:cubicBezTo>
                  <a:lnTo>
                    <a:pt x="217" y="679"/>
                  </a:lnTo>
                  <a:cubicBezTo>
                    <a:pt x="183" y="676"/>
                    <a:pt x="152" y="676"/>
                    <a:pt x="121" y="676"/>
                  </a:cubicBezTo>
                  <a:cubicBezTo>
                    <a:pt x="87" y="676"/>
                    <a:pt x="51" y="676"/>
                    <a:pt x="17" y="679"/>
                  </a:cubicBezTo>
                  <a:lnTo>
                    <a:pt x="14" y="679"/>
                  </a:lnTo>
                  <a:cubicBezTo>
                    <a:pt x="6" y="679"/>
                    <a:pt x="0" y="676"/>
                    <a:pt x="0" y="673"/>
                  </a:cubicBezTo>
                  <a:cubicBezTo>
                    <a:pt x="0" y="665"/>
                    <a:pt x="3" y="662"/>
                    <a:pt x="11" y="656"/>
                  </a:cubicBezTo>
                  <a:cubicBezTo>
                    <a:pt x="31" y="656"/>
                    <a:pt x="51" y="648"/>
                    <a:pt x="65" y="634"/>
                  </a:cubicBezTo>
                  <a:cubicBezTo>
                    <a:pt x="90" y="617"/>
                    <a:pt x="110" y="577"/>
                    <a:pt x="181" y="425"/>
                  </a:cubicBezTo>
                  <a:cubicBezTo>
                    <a:pt x="234" y="309"/>
                    <a:pt x="248" y="281"/>
                    <a:pt x="279" y="224"/>
                  </a:cubicBezTo>
                  <a:cubicBezTo>
                    <a:pt x="305" y="162"/>
                    <a:pt x="347" y="81"/>
                    <a:pt x="370" y="11"/>
                  </a:cubicBezTo>
                  <a:lnTo>
                    <a:pt x="370" y="5"/>
                  </a:lnTo>
                  <a:cubicBezTo>
                    <a:pt x="372" y="3"/>
                    <a:pt x="378" y="0"/>
                    <a:pt x="384" y="0"/>
                  </a:cubicBezTo>
                  <a:cubicBezTo>
                    <a:pt x="389" y="0"/>
                    <a:pt x="392" y="0"/>
                    <a:pt x="395" y="5"/>
                  </a:cubicBezTo>
                  <a:lnTo>
                    <a:pt x="395" y="5"/>
                  </a:lnTo>
                  <a:cubicBezTo>
                    <a:pt x="395" y="8"/>
                    <a:pt x="395" y="14"/>
                    <a:pt x="401" y="5"/>
                  </a:cubicBezTo>
                  <a:cubicBezTo>
                    <a:pt x="409" y="39"/>
                    <a:pt x="420" y="69"/>
                    <a:pt x="434" y="100"/>
                  </a:cubicBezTo>
                  <a:lnTo>
                    <a:pt x="437" y="112"/>
                  </a:lnTo>
                  <a:cubicBezTo>
                    <a:pt x="437" y="112"/>
                    <a:pt x="530" y="320"/>
                    <a:pt x="567" y="416"/>
                  </a:cubicBezTo>
                  <a:cubicBezTo>
                    <a:pt x="595" y="487"/>
                    <a:pt x="629" y="555"/>
                    <a:pt x="666" y="622"/>
                  </a:cubicBezTo>
                  <a:cubicBezTo>
                    <a:pt x="677" y="636"/>
                    <a:pt x="697" y="642"/>
                    <a:pt x="714" y="642"/>
                  </a:cubicBezTo>
                  <a:lnTo>
                    <a:pt x="728" y="642"/>
                  </a:lnTo>
                  <a:cubicBezTo>
                    <a:pt x="745" y="642"/>
                    <a:pt x="784" y="639"/>
                    <a:pt x="796" y="602"/>
                  </a:cubicBezTo>
                  <a:cubicBezTo>
                    <a:pt x="798" y="563"/>
                    <a:pt x="801" y="526"/>
                    <a:pt x="801" y="487"/>
                  </a:cubicBezTo>
                  <a:lnTo>
                    <a:pt x="801" y="286"/>
                  </a:lnTo>
                  <a:cubicBezTo>
                    <a:pt x="801" y="112"/>
                    <a:pt x="798" y="112"/>
                    <a:pt x="734" y="100"/>
                  </a:cubicBezTo>
                  <a:cubicBezTo>
                    <a:pt x="728" y="100"/>
                    <a:pt x="722" y="97"/>
                    <a:pt x="722" y="95"/>
                  </a:cubicBezTo>
                  <a:cubicBezTo>
                    <a:pt x="725" y="89"/>
                    <a:pt x="728" y="83"/>
                    <a:pt x="734" y="83"/>
                  </a:cubicBezTo>
                  <a:lnTo>
                    <a:pt x="801" y="83"/>
                  </a:lnTo>
                  <a:cubicBezTo>
                    <a:pt x="815" y="83"/>
                    <a:pt x="849" y="81"/>
                    <a:pt x="886" y="78"/>
                  </a:cubicBezTo>
                  <a:cubicBezTo>
                    <a:pt x="923" y="75"/>
                    <a:pt x="962" y="75"/>
                    <a:pt x="976" y="75"/>
                  </a:cubicBezTo>
                  <a:cubicBezTo>
                    <a:pt x="1117" y="75"/>
                    <a:pt x="1191" y="151"/>
                    <a:pt x="1191" y="230"/>
                  </a:cubicBezTo>
                  <a:cubicBezTo>
                    <a:pt x="1191" y="295"/>
                    <a:pt x="1143" y="351"/>
                    <a:pt x="1058" y="382"/>
                  </a:cubicBezTo>
                  <a:lnTo>
                    <a:pt x="1078" y="411"/>
                  </a:lnTo>
                  <a:cubicBezTo>
                    <a:pt x="1222" y="631"/>
                    <a:pt x="1402" y="744"/>
                    <a:pt x="1616" y="744"/>
                  </a:cubicBezTo>
                  <a:cubicBezTo>
                    <a:pt x="1627" y="744"/>
                    <a:pt x="1641" y="744"/>
                    <a:pt x="1655" y="741"/>
                  </a:cubicBezTo>
                  <a:cubicBezTo>
                    <a:pt x="1666" y="741"/>
                    <a:pt x="1669" y="746"/>
                    <a:pt x="1669" y="752"/>
                  </a:cubicBezTo>
                  <a:cubicBezTo>
                    <a:pt x="1672" y="760"/>
                    <a:pt x="1666" y="763"/>
                    <a:pt x="1638" y="766"/>
                  </a:cubicBezTo>
                  <a:cubicBezTo>
                    <a:pt x="1616" y="769"/>
                    <a:pt x="1596" y="769"/>
                    <a:pt x="1576" y="769"/>
                  </a:cubicBezTo>
                  <a:lnTo>
                    <a:pt x="1576" y="769"/>
                  </a:lnTo>
                  <a:cubicBezTo>
                    <a:pt x="1354" y="766"/>
                    <a:pt x="1148" y="653"/>
                    <a:pt x="1027" y="464"/>
                  </a:cubicBezTo>
                  <a:lnTo>
                    <a:pt x="971" y="394"/>
                  </a:lnTo>
                  <a:cubicBezTo>
                    <a:pt x="937" y="394"/>
                    <a:pt x="906" y="391"/>
                    <a:pt x="872" y="388"/>
                  </a:cubicBezTo>
                  <a:lnTo>
                    <a:pt x="872" y="492"/>
                  </a:lnTo>
                  <a:cubicBezTo>
                    <a:pt x="872" y="538"/>
                    <a:pt x="875" y="583"/>
                    <a:pt x="883" y="628"/>
                  </a:cubicBezTo>
                  <a:cubicBezTo>
                    <a:pt x="889" y="645"/>
                    <a:pt x="892" y="645"/>
                    <a:pt x="937" y="656"/>
                  </a:cubicBezTo>
                  <a:lnTo>
                    <a:pt x="939" y="656"/>
                  </a:lnTo>
                  <a:cubicBezTo>
                    <a:pt x="942" y="662"/>
                    <a:pt x="945" y="665"/>
                    <a:pt x="945" y="667"/>
                  </a:cubicBezTo>
                  <a:cubicBezTo>
                    <a:pt x="945" y="676"/>
                    <a:pt x="942" y="679"/>
                    <a:pt x="939" y="679"/>
                  </a:cubicBezTo>
                  <a:cubicBezTo>
                    <a:pt x="883" y="676"/>
                    <a:pt x="815" y="676"/>
                    <a:pt x="736" y="676"/>
                  </a:cubicBezTo>
                  <a:cubicBezTo>
                    <a:pt x="632" y="676"/>
                    <a:pt x="547" y="679"/>
                    <a:pt x="516" y="679"/>
                  </a:cubicBezTo>
                  <a:lnTo>
                    <a:pt x="499" y="679"/>
                  </a:lnTo>
                  <a:cubicBezTo>
                    <a:pt x="494" y="679"/>
                    <a:pt x="488" y="679"/>
                    <a:pt x="488" y="673"/>
                  </a:cubicBezTo>
                  <a:cubicBezTo>
                    <a:pt x="488" y="662"/>
                    <a:pt x="497" y="659"/>
                    <a:pt x="499" y="659"/>
                  </a:cubicBezTo>
                  <a:lnTo>
                    <a:pt x="502" y="659"/>
                  </a:lnTo>
                  <a:cubicBezTo>
                    <a:pt x="528" y="656"/>
                    <a:pt x="556" y="648"/>
                    <a:pt x="556" y="628"/>
                  </a:cubicBezTo>
                  <a:cubicBezTo>
                    <a:pt x="553" y="600"/>
                    <a:pt x="545" y="571"/>
                    <a:pt x="533" y="546"/>
                  </a:cubicBezTo>
                  <a:cubicBezTo>
                    <a:pt x="516" y="507"/>
                    <a:pt x="488" y="444"/>
                    <a:pt x="488" y="444"/>
                  </a:cubicBezTo>
                  <a:lnTo>
                    <a:pt x="488" y="444"/>
                  </a:lnTo>
                  <a:close/>
                  <a:moveTo>
                    <a:pt x="1112" y="244"/>
                  </a:moveTo>
                  <a:cubicBezTo>
                    <a:pt x="1106" y="165"/>
                    <a:pt x="1038" y="100"/>
                    <a:pt x="959" y="103"/>
                  </a:cubicBezTo>
                  <a:cubicBezTo>
                    <a:pt x="934" y="103"/>
                    <a:pt x="889" y="109"/>
                    <a:pt x="886" y="123"/>
                  </a:cubicBezTo>
                  <a:cubicBezTo>
                    <a:pt x="872" y="143"/>
                    <a:pt x="872" y="281"/>
                    <a:pt x="872" y="360"/>
                  </a:cubicBezTo>
                  <a:cubicBezTo>
                    <a:pt x="894" y="363"/>
                    <a:pt x="920" y="365"/>
                    <a:pt x="945" y="365"/>
                  </a:cubicBezTo>
                  <a:cubicBezTo>
                    <a:pt x="1083" y="365"/>
                    <a:pt x="1112" y="301"/>
                    <a:pt x="1112" y="244"/>
                  </a:cubicBezTo>
                  <a:lnTo>
                    <a:pt x="1112" y="244"/>
                  </a:lnTo>
                  <a:close/>
                  <a:moveTo>
                    <a:pt x="353" y="151"/>
                  </a:moveTo>
                  <a:lnTo>
                    <a:pt x="237" y="405"/>
                  </a:lnTo>
                  <a:cubicBezTo>
                    <a:pt x="271" y="408"/>
                    <a:pt x="308" y="408"/>
                    <a:pt x="355" y="411"/>
                  </a:cubicBezTo>
                  <a:cubicBezTo>
                    <a:pt x="401" y="411"/>
                    <a:pt x="471" y="408"/>
                    <a:pt x="471" y="408"/>
                  </a:cubicBezTo>
                  <a:cubicBezTo>
                    <a:pt x="471" y="405"/>
                    <a:pt x="443" y="343"/>
                    <a:pt x="406" y="258"/>
                  </a:cubicBezTo>
                  <a:cubicBezTo>
                    <a:pt x="367" y="174"/>
                    <a:pt x="353" y="151"/>
                    <a:pt x="353" y="151"/>
                  </a:cubicBezTo>
                  <a:lnTo>
                    <a:pt x="353" y="151"/>
                  </a:lnTo>
                  <a:close/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6" name="Google Shape;846;g87b7afb683_0_237"/>
            <p:cNvSpPr/>
            <p:nvPr/>
          </p:nvSpPr>
          <p:spPr>
            <a:xfrm>
              <a:off x="3883025" y="1971675"/>
              <a:ext cx="254000" cy="215901"/>
            </a:xfrm>
            <a:custGeom>
              <a:avLst/>
              <a:gdLst/>
              <a:ahLst/>
              <a:cxnLst/>
              <a:rect l="l" t="t" r="r" b="b"/>
              <a:pathLst>
                <a:path w="707" h="599" extrusionOk="0">
                  <a:moveTo>
                    <a:pt x="576" y="223"/>
                  </a:moveTo>
                  <a:lnTo>
                    <a:pt x="576" y="223"/>
                  </a:lnTo>
                  <a:cubicBezTo>
                    <a:pt x="576" y="169"/>
                    <a:pt x="573" y="68"/>
                    <a:pt x="559" y="42"/>
                  </a:cubicBezTo>
                  <a:cubicBezTo>
                    <a:pt x="548" y="31"/>
                    <a:pt x="531" y="23"/>
                    <a:pt x="511" y="23"/>
                  </a:cubicBezTo>
                  <a:cubicBezTo>
                    <a:pt x="503" y="23"/>
                    <a:pt x="494" y="23"/>
                    <a:pt x="489" y="20"/>
                  </a:cubicBezTo>
                  <a:cubicBezTo>
                    <a:pt x="477" y="20"/>
                    <a:pt x="477" y="0"/>
                    <a:pt x="491" y="0"/>
                  </a:cubicBezTo>
                  <a:cubicBezTo>
                    <a:pt x="525" y="3"/>
                    <a:pt x="562" y="6"/>
                    <a:pt x="596" y="3"/>
                  </a:cubicBezTo>
                  <a:cubicBezTo>
                    <a:pt x="627" y="3"/>
                    <a:pt x="658" y="3"/>
                    <a:pt x="692" y="0"/>
                  </a:cubicBezTo>
                  <a:cubicBezTo>
                    <a:pt x="706" y="0"/>
                    <a:pt x="706" y="20"/>
                    <a:pt x="695" y="20"/>
                  </a:cubicBezTo>
                  <a:cubicBezTo>
                    <a:pt x="689" y="23"/>
                    <a:pt x="680" y="23"/>
                    <a:pt x="675" y="23"/>
                  </a:cubicBezTo>
                  <a:cubicBezTo>
                    <a:pt x="658" y="23"/>
                    <a:pt x="641" y="31"/>
                    <a:pt x="627" y="42"/>
                  </a:cubicBezTo>
                  <a:cubicBezTo>
                    <a:pt x="613" y="74"/>
                    <a:pt x="613" y="175"/>
                    <a:pt x="613" y="223"/>
                  </a:cubicBezTo>
                  <a:lnTo>
                    <a:pt x="613" y="325"/>
                  </a:lnTo>
                  <a:cubicBezTo>
                    <a:pt x="613" y="398"/>
                    <a:pt x="599" y="483"/>
                    <a:pt x="548" y="533"/>
                  </a:cubicBezTo>
                  <a:cubicBezTo>
                    <a:pt x="508" y="576"/>
                    <a:pt x="415" y="598"/>
                    <a:pt x="336" y="598"/>
                  </a:cubicBezTo>
                  <a:cubicBezTo>
                    <a:pt x="271" y="598"/>
                    <a:pt x="206" y="587"/>
                    <a:pt x="164" y="550"/>
                  </a:cubicBezTo>
                  <a:cubicBezTo>
                    <a:pt x="113" y="514"/>
                    <a:pt x="91" y="446"/>
                    <a:pt x="91" y="342"/>
                  </a:cubicBezTo>
                  <a:lnTo>
                    <a:pt x="91" y="136"/>
                  </a:lnTo>
                  <a:cubicBezTo>
                    <a:pt x="91" y="45"/>
                    <a:pt x="91" y="31"/>
                    <a:pt x="37" y="23"/>
                  </a:cubicBezTo>
                  <a:cubicBezTo>
                    <a:pt x="29" y="23"/>
                    <a:pt x="20" y="23"/>
                    <a:pt x="15" y="20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57" y="3"/>
                    <a:pt x="94" y="6"/>
                    <a:pt x="133" y="3"/>
                  </a:cubicBezTo>
                  <a:cubicBezTo>
                    <a:pt x="170" y="3"/>
                    <a:pt x="249" y="0"/>
                    <a:pt x="257" y="0"/>
                  </a:cubicBezTo>
                  <a:cubicBezTo>
                    <a:pt x="271" y="0"/>
                    <a:pt x="271" y="20"/>
                    <a:pt x="260" y="20"/>
                  </a:cubicBezTo>
                  <a:cubicBezTo>
                    <a:pt x="252" y="23"/>
                    <a:pt x="243" y="23"/>
                    <a:pt x="237" y="23"/>
                  </a:cubicBezTo>
                  <a:cubicBezTo>
                    <a:pt x="173" y="26"/>
                    <a:pt x="170" y="42"/>
                    <a:pt x="170" y="136"/>
                  </a:cubicBezTo>
                  <a:lnTo>
                    <a:pt x="170" y="325"/>
                  </a:lnTo>
                  <a:cubicBezTo>
                    <a:pt x="170" y="466"/>
                    <a:pt x="192" y="562"/>
                    <a:pt x="356" y="562"/>
                  </a:cubicBezTo>
                  <a:cubicBezTo>
                    <a:pt x="542" y="562"/>
                    <a:pt x="579" y="460"/>
                    <a:pt x="579" y="325"/>
                  </a:cubicBezTo>
                  <a:lnTo>
                    <a:pt x="576" y="223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7" name="Google Shape;847;g87b7afb683_0_237"/>
            <p:cNvSpPr/>
            <p:nvPr/>
          </p:nvSpPr>
          <p:spPr>
            <a:xfrm>
              <a:off x="3292475" y="2268538"/>
              <a:ext cx="69850" cy="87312"/>
            </a:xfrm>
            <a:custGeom>
              <a:avLst/>
              <a:gdLst/>
              <a:ahLst/>
              <a:cxnLst/>
              <a:rect l="l" t="t" r="r" b="b"/>
              <a:pathLst>
                <a:path w="196" h="241" extrusionOk="0">
                  <a:moveTo>
                    <a:pt x="99" y="240"/>
                  </a:moveTo>
                  <a:lnTo>
                    <a:pt x="99" y="240"/>
                  </a:lnTo>
                  <a:cubicBezTo>
                    <a:pt x="37" y="240"/>
                    <a:pt x="0" y="193"/>
                    <a:pt x="0" y="122"/>
                  </a:cubicBezTo>
                  <a:cubicBezTo>
                    <a:pt x="0" y="52"/>
                    <a:pt x="40" y="0"/>
                    <a:pt x="99" y="0"/>
                  </a:cubicBezTo>
                  <a:cubicBezTo>
                    <a:pt x="158" y="0"/>
                    <a:pt x="195" y="51"/>
                    <a:pt x="195" y="122"/>
                  </a:cubicBezTo>
                  <a:cubicBezTo>
                    <a:pt x="195" y="189"/>
                    <a:pt x="158" y="240"/>
                    <a:pt x="99" y="240"/>
                  </a:cubicBezTo>
                  <a:close/>
                  <a:moveTo>
                    <a:pt x="99" y="23"/>
                  </a:moveTo>
                  <a:lnTo>
                    <a:pt x="99" y="23"/>
                  </a:lnTo>
                  <a:cubicBezTo>
                    <a:pt x="60" y="23"/>
                    <a:pt x="29" y="59"/>
                    <a:pt x="29" y="122"/>
                  </a:cubicBezTo>
                  <a:cubicBezTo>
                    <a:pt x="29" y="178"/>
                    <a:pt x="59" y="217"/>
                    <a:pt x="99" y="217"/>
                  </a:cubicBezTo>
                  <a:cubicBezTo>
                    <a:pt x="138" y="217"/>
                    <a:pt x="167" y="181"/>
                    <a:pt x="167" y="122"/>
                  </a:cubicBezTo>
                  <a:cubicBezTo>
                    <a:pt x="167" y="59"/>
                    <a:pt x="139" y="23"/>
                    <a:pt x="99" y="23"/>
                  </a:cubicBezTo>
                  <a:close/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" name="Google Shape;848;g87b7afb683_0_237"/>
            <p:cNvSpPr/>
            <p:nvPr/>
          </p:nvSpPr>
          <p:spPr>
            <a:xfrm>
              <a:off x="3376613" y="2289175"/>
              <a:ext cx="49212" cy="65088"/>
            </a:xfrm>
            <a:custGeom>
              <a:avLst/>
              <a:gdLst/>
              <a:ahLst/>
              <a:cxnLst/>
              <a:rect l="l" t="t" r="r" b="b"/>
              <a:pathLst>
                <a:path w="136" h="182" extrusionOk="0">
                  <a:moveTo>
                    <a:pt x="110" y="175"/>
                  </a:moveTo>
                  <a:lnTo>
                    <a:pt x="110" y="175"/>
                  </a:lnTo>
                  <a:lnTo>
                    <a:pt x="110" y="156"/>
                  </a:lnTo>
                  <a:cubicBezTo>
                    <a:pt x="98" y="173"/>
                    <a:pt x="81" y="181"/>
                    <a:pt x="62" y="178"/>
                  </a:cubicBezTo>
                  <a:cubicBezTo>
                    <a:pt x="28" y="178"/>
                    <a:pt x="0" y="158"/>
                    <a:pt x="0" y="108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102"/>
                  </a:lnTo>
                  <a:cubicBezTo>
                    <a:pt x="28" y="142"/>
                    <a:pt x="39" y="158"/>
                    <a:pt x="67" y="158"/>
                  </a:cubicBezTo>
                  <a:cubicBezTo>
                    <a:pt x="90" y="158"/>
                    <a:pt x="107" y="142"/>
                    <a:pt x="107" y="102"/>
                  </a:cubicBezTo>
                  <a:lnTo>
                    <a:pt x="107" y="0"/>
                  </a:lnTo>
                  <a:lnTo>
                    <a:pt x="135" y="0"/>
                  </a:lnTo>
                  <a:lnTo>
                    <a:pt x="135" y="175"/>
                  </a:lnTo>
                  <a:lnTo>
                    <a:pt x="110" y="175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9" name="Google Shape;849;g87b7afb683_0_237"/>
            <p:cNvSpPr/>
            <p:nvPr/>
          </p:nvSpPr>
          <p:spPr>
            <a:xfrm>
              <a:off x="3441700" y="2287588"/>
              <a:ext cx="34925" cy="66675"/>
            </a:xfrm>
            <a:custGeom>
              <a:avLst/>
              <a:gdLst/>
              <a:ahLst/>
              <a:cxnLst/>
              <a:rect l="l" t="t" r="r" b="b"/>
              <a:pathLst>
                <a:path w="97" h="184" extrusionOk="0">
                  <a:moveTo>
                    <a:pt x="87" y="34"/>
                  </a:moveTo>
                  <a:lnTo>
                    <a:pt x="87" y="34"/>
                  </a:lnTo>
                  <a:cubicBezTo>
                    <a:pt x="79" y="31"/>
                    <a:pt x="71" y="28"/>
                    <a:pt x="59" y="28"/>
                  </a:cubicBezTo>
                  <a:cubicBezTo>
                    <a:pt x="37" y="28"/>
                    <a:pt x="23" y="48"/>
                    <a:pt x="23" y="82"/>
                  </a:cubicBezTo>
                  <a:lnTo>
                    <a:pt x="23" y="183"/>
                  </a:lnTo>
                  <a:lnTo>
                    <a:pt x="0" y="183"/>
                  </a:lnTo>
                  <a:lnTo>
                    <a:pt x="0" y="5"/>
                  </a:lnTo>
                  <a:lnTo>
                    <a:pt x="23" y="5"/>
                  </a:lnTo>
                  <a:lnTo>
                    <a:pt x="23" y="28"/>
                  </a:lnTo>
                  <a:cubicBezTo>
                    <a:pt x="31" y="11"/>
                    <a:pt x="48" y="3"/>
                    <a:pt x="68" y="0"/>
                  </a:cubicBezTo>
                  <a:cubicBezTo>
                    <a:pt x="76" y="0"/>
                    <a:pt x="87" y="3"/>
                    <a:pt x="96" y="5"/>
                  </a:cubicBezTo>
                  <a:lnTo>
                    <a:pt x="87" y="34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0" name="Google Shape;850;g87b7afb683_0_237"/>
            <p:cNvSpPr/>
            <p:nvPr/>
          </p:nvSpPr>
          <p:spPr>
            <a:xfrm>
              <a:off x="3516313" y="2268538"/>
              <a:ext cx="11112" cy="84137"/>
            </a:xfrm>
            <a:custGeom>
              <a:avLst/>
              <a:gdLst/>
              <a:ahLst/>
              <a:cxnLst/>
              <a:rect l="l" t="t" r="r" b="b"/>
              <a:pathLst>
                <a:path w="29" h="232" extrusionOk="0">
                  <a:moveTo>
                    <a:pt x="28" y="0"/>
                  </a:moveTo>
                  <a:lnTo>
                    <a:pt x="28" y="231"/>
                  </a:lnTo>
                  <a:lnTo>
                    <a:pt x="0" y="231"/>
                  </a:lnTo>
                  <a:lnTo>
                    <a:pt x="0" y="0"/>
                  </a:lnTo>
                  <a:lnTo>
                    <a:pt x="28" y="0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1" name="Google Shape;851;g87b7afb683_0_237"/>
            <p:cNvSpPr/>
            <p:nvPr/>
          </p:nvSpPr>
          <p:spPr>
            <a:xfrm>
              <a:off x="3544888" y="2287588"/>
              <a:ext cx="47625" cy="65087"/>
            </a:xfrm>
            <a:custGeom>
              <a:avLst/>
              <a:gdLst/>
              <a:ahLst/>
              <a:cxnLst/>
              <a:rect l="l" t="t" r="r" b="b"/>
              <a:pathLst>
                <a:path w="134" h="181" extrusionOk="0">
                  <a:moveTo>
                    <a:pt x="107" y="79"/>
                  </a:moveTo>
                  <a:cubicBezTo>
                    <a:pt x="107" y="42"/>
                    <a:pt x="93" y="25"/>
                    <a:pt x="68" y="25"/>
                  </a:cubicBezTo>
                  <a:cubicBezTo>
                    <a:pt x="45" y="25"/>
                    <a:pt x="23" y="42"/>
                    <a:pt x="23" y="79"/>
                  </a:cubicBezTo>
                  <a:lnTo>
                    <a:pt x="23" y="180"/>
                  </a:lnTo>
                  <a:lnTo>
                    <a:pt x="0" y="180"/>
                  </a:lnTo>
                  <a:lnTo>
                    <a:pt x="0" y="5"/>
                  </a:lnTo>
                  <a:lnTo>
                    <a:pt x="23" y="5"/>
                  </a:lnTo>
                  <a:lnTo>
                    <a:pt x="23" y="28"/>
                  </a:lnTo>
                  <a:cubicBezTo>
                    <a:pt x="34" y="11"/>
                    <a:pt x="51" y="3"/>
                    <a:pt x="71" y="0"/>
                  </a:cubicBezTo>
                  <a:cubicBezTo>
                    <a:pt x="107" y="0"/>
                    <a:pt x="133" y="22"/>
                    <a:pt x="133" y="73"/>
                  </a:cubicBezTo>
                  <a:lnTo>
                    <a:pt x="133" y="178"/>
                  </a:lnTo>
                  <a:lnTo>
                    <a:pt x="107" y="178"/>
                  </a:lnTo>
                  <a:lnTo>
                    <a:pt x="107" y="79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2" name="Google Shape;852;g87b7afb683_0_237"/>
            <p:cNvSpPr/>
            <p:nvPr/>
          </p:nvSpPr>
          <p:spPr>
            <a:xfrm>
              <a:off x="3602038" y="2266950"/>
              <a:ext cx="31750" cy="87313"/>
            </a:xfrm>
            <a:custGeom>
              <a:avLst/>
              <a:gdLst/>
              <a:ahLst/>
              <a:cxnLst/>
              <a:rect l="l" t="t" r="r" b="b"/>
              <a:pathLst>
                <a:path w="88" h="243" extrusionOk="0">
                  <a:moveTo>
                    <a:pt x="48" y="87"/>
                  </a:moveTo>
                  <a:lnTo>
                    <a:pt x="48" y="87"/>
                  </a:lnTo>
                  <a:lnTo>
                    <a:pt x="48" y="200"/>
                  </a:lnTo>
                  <a:cubicBezTo>
                    <a:pt x="48" y="217"/>
                    <a:pt x="51" y="220"/>
                    <a:pt x="65" y="220"/>
                  </a:cubicBezTo>
                  <a:cubicBezTo>
                    <a:pt x="73" y="220"/>
                    <a:pt x="82" y="220"/>
                    <a:pt x="87" y="217"/>
                  </a:cubicBezTo>
                  <a:lnTo>
                    <a:pt x="87" y="237"/>
                  </a:lnTo>
                  <a:cubicBezTo>
                    <a:pt x="76" y="239"/>
                    <a:pt x="65" y="242"/>
                    <a:pt x="53" y="242"/>
                  </a:cubicBezTo>
                  <a:cubicBezTo>
                    <a:pt x="34" y="242"/>
                    <a:pt x="20" y="231"/>
                    <a:pt x="20" y="203"/>
                  </a:cubicBezTo>
                  <a:lnTo>
                    <a:pt x="20" y="87"/>
                  </a:lnTo>
                  <a:lnTo>
                    <a:pt x="0" y="87"/>
                  </a:lnTo>
                  <a:lnTo>
                    <a:pt x="0" y="64"/>
                  </a:lnTo>
                  <a:lnTo>
                    <a:pt x="20" y="64"/>
                  </a:lnTo>
                  <a:lnTo>
                    <a:pt x="20" y="14"/>
                  </a:lnTo>
                  <a:lnTo>
                    <a:pt x="48" y="0"/>
                  </a:lnTo>
                  <a:lnTo>
                    <a:pt x="48" y="64"/>
                  </a:lnTo>
                  <a:lnTo>
                    <a:pt x="87" y="64"/>
                  </a:lnTo>
                  <a:lnTo>
                    <a:pt x="87" y="87"/>
                  </a:lnTo>
                  <a:lnTo>
                    <a:pt x="48" y="87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g87b7afb683_0_237"/>
            <p:cNvSpPr/>
            <p:nvPr/>
          </p:nvSpPr>
          <p:spPr>
            <a:xfrm>
              <a:off x="3643313" y="2289175"/>
              <a:ext cx="50800" cy="65088"/>
            </a:xfrm>
            <a:custGeom>
              <a:avLst/>
              <a:gdLst/>
              <a:ahLst/>
              <a:cxnLst/>
              <a:rect l="l" t="t" r="r" b="b"/>
              <a:pathLst>
                <a:path w="142" h="182" extrusionOk="0">
                  <a:moveTo>
                    <a:pt x="141" y="99"/>
                  </a:moveTo>
                  <a:lnTo>
                    <a:pt x="25" y="99"/>
                  </a:lnTo>
                  <a:cubicBezTo>
                    <a:pt x="25" y="136"/>
                    <a:pt x="45" y="161"/>
                    <a:pt x="73" y="161"/>
                  </a:cubicBezTo>
                  <a:cubicBezTo>
                    <a:pt x="90" y="161"/>
                    <a:pt x="107" y="156"/>
                    <a:pt x="121" y="144"/>
                  </a:cubicBezTo>
                  <a:lnTo>
                    <a:pt x="132" y="161"/>
                  </a:lnTo>
                  <a:cubicBezTo>
                    <a:pt x="115" y="175"/>
                    <a:pt x="93" y="181"/>
                    <a:pt x="70" y="181"/>
                  </a:cubicBezTo>
                  <a:cubicBezTo>
                    <a:pt x="39" y="181"/>
                    <a:pt x="0" y="158"/>
                    <a:pt x="0" y="91"/>
                  </a:cubicBezTo>
                  <a:cubicBezTo>
                    <a:pt x="0" y="37"/>
                    <a:pt x="31" y="0"/>
                    <a:pt x="73" y="0"/>
                  </a:cubicBezTo>
                  <a:cubicBezTo>
                    <a:pt x="115" y="0"/>
                    <a:pt x="141" y="37"/>
                    <a:pt x="141" y="88"/>
                  </a:cubicBezTo>
                  <a:lnTo>
                    <a:pt x="141" y="99"/>
                  </a:lnTo>
                  <a:close/>
                  <a:moveTo>
                    <a:pt x="73" y="20"/>
                  </a:moveTo>
                  <a:lnTo>
                    <a:pt x="73" y="20"/>
                  </a:lnTo>
                  <a:cubicBezTo>
                    <a:pt x="45" y="20"/>
                    <a:pt x="28" y="37"/>
                    <a:pt x="25" y="77"/>
                  </a:cubicBezTo>
                  <a:lnTo>
                    <a:pt x="115" y="77"/>
                  </a:lnTo>
                  <a:cubicBezTo>
                    <a:pt x="118" y="46"/>
                    <a:pt x="101" y="20"/>
                    <a:pt x="73" y="20"/>
                  </a:cubicBezTo>
                  <a:close/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g87b7afb683_0_237"/>
            <p:cNvSpPr/>
            <p:nvPr/>
          </p:nvSpPr>
          <p:spPr>
            <a:xfrm>
              <a:off x="3706813" y="2287588"/>
              <a:ext cx="34925" cy="66675"/>
            </a:xfrm>
            <a:custGeom>
              <a:avLst/>
              <a:gdLst/>
              <a:ahLst/>
              <a:cxnLst/>
              <a:rect l="l" t="t" r="r" b="b"/>
              <a:pathLst>
                <a:path w="96" h="184" extrusionOk="0">
                  <a:moveTo>
                    <a:pt x="94" y="34"/>
                  </a:moveTo>
                  <a:lnTo>
                    <a:pt x="94" y="34"/>
                  </a:lnTo>
                  <a:cubicBezTo>
                    <a:pt x="85" y="31"/>
                    <a:pt x="77" y="28"/>
                    <a:pt x="65" y="28"/>
                  </a:cubicBezTo>
                  <a:cubicBezTo>
                    <a:pt x="37" y="28"/>
                    <a:pt x="29" y="48"/>
                    <a:pt x="29" y="82"/>
                  </a:cubicBezTo>
                  <a:lnTo>
                    <a:pt x="29" y="183"/>
                  </a:lnTo>
                  <a:lnTo>
                    <a:pt x="0" y="183"/>
                  </a:lnTo>
                  <a:lnTo>
                    <a:pt x="0" y="5"/>
                  </a:lnTo>
                  <a:lnTo>
                    <a:pt x="29" y="5"/>
                  </a:lnTo>
                  <a:lnTo>
                    <a:pt x="29" y="28"/>
                  </a:lnTo>
                  <a:cubicBezTo>
                    <a:pt x="37" y="14"/>
                    <a:pt x="51" y="3"/>
                    <a:pt x="68" y="0"/>
                  </a:cubicBezTo>
                  <a:cubicBezTo>
                    <a:pt x="77" y="0"/>
                    <a:pt x="88" y="3"/>
                    <a:pt x="95" y="5"/>
                  </a:cubicBezTo>
                  <a:lnTo>
                    <a:pt x="94" y="34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5" name="Google Shape;855;g87b7afb683_0_237"/>
            <p:cNvSpPr/>
            <p:nvPr/>
          </p:nvSpPr>
          <p:spPr>
            <a:xfrm>
              <a:off x="3746500" y="2289175"/>
              <a:ext cx="50800" cy="65088"/>
            </a:xfrm>
            <a:custGeom>
              <a:avLst/>
              <a:gdLst/>
              <a:ahLst/>
              <a:cxnLst/>
              <a:rect l="l" t="t" r="r" b="b"/>
              <a:pathLst>
                <a:path w="142" h="182" extrusionOk="0">
                  <a:moveTo>
                    <a:pt x="141" y="99"/>
                  </a:moveTo>
                  <a:lnTo>
                    <a:pt x="26" y="99"/>
                  </a:lnTo>
                  <a:cubicBezTo>
                    <a:pt x="26" y="136"/>
                    <a:pt x="46" y="161"/>
                    <a:pt x="74" y="161"/>
                  </a:cubicBezTo>
                  <a:cubicBezTo>
                    <a:pt x="91" y="161"/>
                    <a:pt x="108" y="156"/>
                    <a:pt x="122" y="144"/>
                  </a:cubicBezTo>
                  <a:lnTo>
                    <a:pt x="136" y="161"/>
                  </a:lnTo>
                  <a:cubicBezTo>
                    <a:pt x="116" y="175"/>
                    <a:pt x="94" y="181"/>
                    <a:pt x="71" y="181"/>
                  </a:cubicBezTo>
                  <a:cubicBezTo>
                    <a:pt x="40" y="181"/>
                    <a:pt x="0" y="158"/>
                    <a:pt x="0" y="91"/>
                  </a:cubicBezTo>
                  <a:cubicBezTo>
                    <a:pt x="0" y="37"/>
                    <a:pt x="34" y="0"/>
                    <a:pt x="74" y="0"/>
                  </a:cubicBezTo>
                  <a:cubicBezTo>
                    <a:pt x="119" y="0"/>
                    <a:pt x="141" y="37"/>
                    <a:pt x="141" y="88"/>
                  </a:cubicBezTo>
                  <a:lnTo>
                    <a:pt x="141" y="99"/>
                  </a:lnTo>
                  <a:close/>
                  <a:moveTo>
                    <a:pt x="71" y="20"/>
                  </a:moveTo>
                  <a:lnTo>
                    <a:pt x="71" y="20"/>
                  </a:lnTo>
                  <a:cubicBezTo>
                    <a:pt x="48" y="20"/>
                    <a:pt x="26" y="37"/>
                    <a:pt x="26" y="77"/>
                  </a:cubicBezTo>
                  <a:lnTo>
                    <a:pt x="116" y="77"/>
                  </a:lnTo>
                  <a:cubicBezTo>
                    <a:pt x="119" y="46"/>
                    <a:pt x="102" y="20"/>
                    <a:pt x="71" y="20"/>
                  </a:cubicBezTo>
                  <a:close/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6" name="Google Shape;856;g87b7afb683_0_237"/>
            <p:cNvSpPr/>
            <p:nvPr/>
          </p:nvSpPr>
          <p:spPr>
            <a:xfrm>
              <a:off x="3806825" y="2289175"/>
              <a:ext cx="42863" cy="66675"/>
            </a:xfrm>
            <a:custGeom>
              <a:avLst/>
              <a:gdLst/>
              <a:ahLst/>
              <a:cxnLst/>
              <a:rect l="l" t="t" r="r" b="b"/>
              <a:pathLst>
                <a:path w="119" h="184" extrusionOk="0">
                  <a:moveTo>
                    <a:pt x="56" y="183"/>
                  </a:moveTo>
                  <a:lnTo>
                    <a:pt x="56" y="183"/>
                  </a:lnTo>
                  <a:cubicBezTo>
                    <a:pt x="37" y="183"/>
                    <a:pt x="17" y="175"/>
                    <a:pt x="0" y="163"/>
                  </a:cubicBezTo>
                  <a:lnTo>
                    <a:pt x="14" y="144"/>
                  </a:lnTo>
                  <a:cubicBezTo>
                    <a:pt x="25" y="158"/>
                    <a:pt x="42" y="163"/>
                    <a:pt x="62" y="163"/>
                  </a:cubicBezTo>
                  <a:cubicBezTo>
                    <a:pt x="85" y="163"/>
                    <a:pt x="96" y="152"/>
                    <a:pt x="96" y="135"/>
                  </a:cubicBezTo>
                  <a:cubicBezTo>
                    <a:pt x="96" y="121"/>
                    <a:pt x="85" y="112"/>
                    <a:pt x="56" y="98"/>
                  </a:cubicBezTo>
                  <a:cubicBezTo>
                    <a:pt x="22" y="84"/>
                    <a:pt x="6" y="76"/>
                    <a:pt x="6" y="48"/>
                  </a:cubicBezTo>
                  <a:cubicBezTo>
                    <a:pt x="8" y="19"/>
                    <a:pt x="31" y="0"/>
                    <a:pt x="59" y="0"/>
                  </a:cubicBezTo>
                  <a:cubicBezTo>
                    <a:pt x="59" y="0"/>
                    <a:pt x="59" y="0"/>
                    <a:pt x="62" y="0"/>
                  </a:cubicBezTo>
                  <a:cubicBezTo>
                    <a:pt x="82" y="0"/>
                    <a:pt x="104" y="8"/>
                    <a:pt x="118" y="19"/>
                  </a:cubicBezTo>
                  <a:lnTo>
                    <a:pt x="104" y="36"/>
                  </a:lnTo>
                  <a:cubicBezTo>
                    <a:pt x="93" y="28"/>
                    <a:pt x="76" y="22"/>
                    <a:pt x="59" y="22"/>
                  </a:cubicBezTo>
                  <a:cubicBezTo>
                    <a:pt x="42" y="22"/>
                    <a:pt x="28" y="33"/>
                    <a:pt x="28" y="42"/>
                  </a:cubicBezTo>
                  <a:cubicBezTo>
                    <a:pt x="28" y="59"/>
                    <a:pt x="39" y="62"/>
                    <a:pt x="68" y="76"/>
                  </a:cubicBezTo>
                  <a:cubicBezTo>
                    <a:pt x="99" y="93"/>
                    <a:pt x="118" y="98"/>
                    <a:pt x="118" y="132"/>
                  </a:cubicBezTo>
                  <a:cubicBezTo>
                    <a:pt x="118" y="166"/>
                    <a:pt x="90" y="183"/>
                    <a:pt x="56" y="183"/>
                  </a:cubicBez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7" name="Google Shape;857;g87b7afb683_0_237"/>
            <p:cNvSpPr/>
            <p:nvPr/>
          </p:nvSpPr>
          <p:spPr>
            <a:xfrm>
              <a:off x="3856038" y="2266950"/>
              <a:ext cx="33337" cy="87313"/>
            </a:xfrm>
            <a:custGeom>
              <a:avLst/>
              <a:gdLst/>
              <a:ahLst/>
              <a:cxnLst/>
              <a:rect l="l" t="t" r="r" b="b"/>
              <a:pathLst>
                <a:path w="94" h="243" extrusionOk="0">
                  <a:moveTo>
                    <a:pt x="48" y="87"/>
                  </a:moveTo>
                  <a:lnTo>
                    <a:pt x="48" y="87"/>
                  </a:lnTo>
                  <a:lnTo>
                    <a:pt x="48" y="200"/>
                  </a:lnTo>
                  <a:cubicBezTo>
                    <a:pt x="48" y="217"/>
                    <a:pt x="51" y="220"/>
                    <a:pt x="65" y="220"/>
                  </a:cubicBezTo>
                  <a:cubicBezTo>
                    <a:pt x="73" y="220"/>
                    <a:pt x="82" y="220"/>
                    <a:pt x="88" y="217"/>
                  </a:cubicBezTo>
                  <a:lnTo>
                    <a:pt x="88" y="237"/>
                  </a:lnTo>
                  <a:cubicBezTo>
                    <a:pt x="76" y="239"/>
                    <a:pt x="65" y="242"/>
                    <a:pt x="54" y="242"/>
                  </a:cubicBezTo>
                  <a:cubicBezTo>
                    <a:pt x="34" y="242"/>
                    <a:pt x="20" y="231"/>
                    <a:pt x="20" y="203"/>
                  </a:cubicBezTo>
                  <a:lnTo>
                    <a:pt x="20" y="87"/>
                  </a:lnTo>
                  <a:lnTo>
                    <a:pt x="0" y="87"/>
                  </a:lnTo>
                  <a:lnTo>
                    <a:pt x="0" y="64"/>
                  </a:lnTo>
                  <a:lnTo>
                    <a:pt x="20" y="64"/>
                  </a:lnTo>
                  <a:lnTo>
                    <a:pt x="20" y="14"/>
                  </a:lnTo>
                  <a:lnTo>
                    <a:pt x="48" y="0"/>
                  </a:lnTo>
                  <a:lnTo>
                    <a:pt x="48" y="64"/>
                  </a:lnTo>
                  <a:lnTo>
                    <a:pt x="93" y="64"/>
                  </a:lnTo>
                  <a:lnTo>
                    <a:pt x="93" y="87"/>
                  </a:lnTo>
                  <a:lnTo>
                    <a:pt x="48" y="87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8" name="Google Shape;858;g87b7afb683_0_237"/>
            <p:cNvSpPr/>
            <p:nvPr/>
          </p:nvSpPr>
          <p:spPr>
            <a:xfrm>
              <a:off x="3929063" y="2265363"/>
              <a:ext cx="14287" cy="87312"/>
            </a:xfrm>
            <a:custGeom>
              <a:avLst/>
              <a:gdLst/>
              <a:ahLst/>
              <a:cxnLst/>
              <a:rect l="l" t="t" r="r" b="b"/>
              <a:pathLst>
                <a:path w="41" h="243" extrusionOk="0">
                  <a:moveTo>
                    <a:pt x="17" y="36"/>
                  </a:moveTo>
                  <a:lnTo>
                    <a:pt x="17" y="36"/>
                  </a:lnTo>
                  <a:cubicBezTo>
                    <a:pt x="9" y="36"/>
                    <a:pt x="0" y="28"/>
                    <a:pt x="0" y="19"/>
                  </a:cubicBezTo>
                  <a:cubicBezTo>
                    <a:pt x="0" y="11"/>
                    <a:pt x="9" y="3"/>
                    <a:pt x="17" y="3"/>
                  </a:cubicBezTo>
                  <a:cubicBezTo>
                    <a:pt x="26" y="0"/>
                    <a:pt x="34" y="9"/>
                    <a:pt x="37" y="17"/>
                  </a:cubicBezTo>
                  <a:cubicBezTo>
                    <a:pt x="40" y="26"/>
                    <a:pt x="31" y="34"/>
                    <a:pt x="23" y="36"/>
                  </a:cubicBezTo>
                  <a:cubicBezTo>
                    <a:pt x="20" y="36"/>
                    <a:pt x="20" y="36"/>
                    <a:pt x="17" y="36"/>
                  </a:cubicBezTo>
                  <a:close/>
                  <a:moveTo>
                    <a:pt x="6" y="67"/>
                  </a:moveTo>
                  <a:lnTo>
                    <a:pt x="28" y="67"/>
                  </a:lnTo>
                  <a:lnTo>
                    <a:pt x="28" y="242"/>
                  </a:lnTo>
                  <a:lnTo>
                    <a:pt x="6" y="242"/>
                  </a:lnTo>
                  <a:lnTo>
                    <a:pt x="6" y="67"/>
                  </a:lnTo>
                  <a:close/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9" name="Google Shape;859;g87b7afb683_0_237"/>
            <p:cNvSpPr/>
            <p:nvPr/>
          </p:nvSpPr>
          <p:spPr>
            <a:xfrm>
              <a:off x="3951288" y="2289175"/>
              <a:ext cx="44450" cy="66675"/>
            </a:xfrm>
            <a:custGeom>
              <a:avLst/>
              <a:gdLst/>
              <a:ahLst/>
              <a:cxnLst/>
              <a:rect l="l" t="t" r="r" b="b"/>
              <a:pathLst>
                <a:path w="125" h="184" extrusionOk="0">
                  <a:moveTo>
                    <a:pt x="62" y="183"/>
                  </a:moveTo>
                  <a:lnTo>
                    <a:pt x="62" y="183"/>
                  </a:lnTo>
                  <a:cubicBezTo>
                    <a:pt x="40" y="183"/>
                    <a:pt x="20" y="175"/>
                    <a:pt x="0" y="163"/>
                  </a:cubicBezTo>
                  <a:lnTo>
                    <a:pt x="17" y="144"/>
                  </a:lnTo>
                  <a:cubicBezTo>
                    <a:pt x="29" y="158"/>
                    <a:pt x="45" y="163"/>
                    <a:pt x="65" y="163"/>
                  </a:cubicBezTo>
                  <a:cubicBezTo>
                    <a:pt x="88" y="163"/>
                    <a:pt x="99" y="152"/>
                    <a:pt x="99" y="135"/>
                  </a:cubicBezTo>
                  <a:cubicBezTo>
                    <a:pt x="99" y="121"/>
                    <a:pt x="88" y="112"/>
                    <a:pt x="60" y="98"/>
                  </a:cubicBezTo>
                  <a:cubicBezTo>
                    <a:pt x="26" y="84"/>
                    <a:pt x="9" y="76"/>
                    <a:pt x="9" y="48"/>
                  </a:cubicBezTo>
                  <a:cubicBezTo>
                    <a:pt x="12" y="19"/>
                    <a:pt x="34" y="0"/>
                    <a:pt x="62" y="0"/>
                  </a:cubicBezTo>
                  <a:cubicBezTo>
                    <a:pt x="62" y="0"/>
                    <a:pt x="62" y="0"/>
                    <a:pt x="65" y="0"/>
                  </a:cubicBezTo>
                  <a:cubicBezTo>
                    <a:pt x="85" y="0"/>
                    <a:pt x="108" y="8"/>
                    <a:pt x="122" y="19"/>
                  </a:cubicBezTo>
                  <a:lnTo>
                    <a:pt x="105" y="36"/>
                  </a:lnTo>
                  <a:cubicBezTo>
                    <a:pt x="93" y="25"/>
                    <a:pt x="79" y="22"/>
                    <a:pt x="65" y="22"/>
                  </a:cubicBezTo>
                  <a:cubicBezTo>
                    <a:pt x="45" y="22"/>
                    <a:pt x="34" y="33"/>
                    <a:pt x="34" y="42"/>
                  </a:cubicBezTo>
                  <a:cubicBezTo>
                    <a:pt x="34" y="59"/>
                    <a:pt x="45" y="62"/>
                    <a:pt x="74" y="76"/>
                  </a:cubicBezTo>
                  <a:cubicBezTo>
                    <a:pt x="105" y="93"/>
                    <a:pt x="124" y="98"/>
                    <a:pt x="124" y="132"/>
                  </a:cubicBezTo>
                  <a:cubicBezTo>
                    <a:pt x="124" y="166"/>
                    <a:pt x="93" y="183"/>
                    <a:pt x="62" y="183"/>
                  </a:cubicBez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" name="Google Shape;860;g87b7afb683_0_237"/>
            <p:cNvSpPr/>
            <p:nvPr/>
          </p:nvSpPr>
          <p:spPr>
            <a:xfrm>
              <a:off x="4017963" y="2268538"/>
              <a:ext cx="66675" cy="84137"/>
            </a:xfrm>
            <a:custGeom>
              <a:avLst/>
              <a:gdLst/>
              <a:ahLst/>
              <a:cxnLst/>
              <a:rect l="l" t="t" r="r" b="b"/>
              <a:pathLst>
                <a:path w="187" h="232" extrusionOk="0">
                  <a:moveTo>
                    <a:pt x="107" y="141"/>
                  </a:moveTo>
                  <a:lnTo>
                    <a:pt x="107" y="141"/>
                  </a:lnTo>
                  <a:lnTo>
                    <a:pt x="107" y="231"/>
                  </a:lnTo>
                  <a:lnTo>
                    <a:pt x="79" y="231"/>
                  </a:lnTo>
                  <a:lnTo>
                    <a:pt x="79" y="14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65" y="68"/>
                  </a:lnTo>
                  <a:cubicBezTo>
                    <a:pt x="76" y="85"/>
                    <a:pt x="84" y="104"/>
                    <a:pt x="93" y="119"/>
                  </a:cubicBezTo>
                  <a:cubicBezTo>
                    <a:pt x="98" y="104"/>
                    <a:pt x="110" y="85"/>
                    <a:pt x="121" y="68"/>
                  </a:cubicBezTo>
                  <a:lnTo>
                    <a:pt x="158" y="0"/>
                  </a:lnTo>
                  <a:lnTo>
                    <a:pt x="186" y="0"/>
                  </a:lnTo>
                  <a:lnTo>
                    <a:pt x="107" y="141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1" name="Google Shape;861;g87b7afb683_0_237"/>
            <p:cNvSpPr/>
            <p:nvPr/>
          </p:nvSpPr>
          <p:spPr>
            <a:xfrm>
              <a:off x="4081463" y="2289175"/>
              <a:ext cx="53975" cy="65088"/>
            </a:xfrm>
            <a:custGeom>
              <a:avLst/>
              <a:gdLst/>
              <a:ahLst/>
              <a:cxnLst/>
              <a:rect l="l" t="t" r="r" b="b"/>
              <a:pathLst>
                <a:path w="148" h="182" extrusionOk="0">
                  <a:moveTo>
                    <a:pt x="74" y="181"/>
                  </a:moveTo>
                  <a:lnTo>
                    <a:pt x="74" y="181"/>
                  </a:lnTo>
                  <a:cubicBezTo>
                    <a:pt x="29" y="181"/>
                    <a:pt x="0" y="150"/>
                    <a:pt x="0" y="91"/>
                  </a:cubicBezTo>
                  <a:cubicBezTo>
                    <a:pt x="0" y="34"/>
                    <a:pt x="35" y="0"/>
                    <a:pt x="74" y="0"/>
                  </a:cubicBezTo>
                  <a:cubicBezTo>
                    <a:pt x="114" y="0"/>
                    <a:pt x="147" y="35"/>
                    <a:pt x="147" y="91"/>
                  </a:cubicBezTo>
                  <a:cubicBezTo>
                    <a:pt x="147" y="148"/>
                    <a:pt x="116" y="181"/>
                    <a:pt x="74" y="181"/>
                  </a:cubicBezTo>
                  <a:close/>
                  <a:moveTo>
                    <a:pt x="74" y="20"/>
                  </a:moveTo>
                  <a:lnTo>
                    <a:pt x="74" y="20"/>
                  </a:lnTo>
                  <a:cubicBezTo>
                    <a:pt x="43" y="20"/>
                    <a:pt x="23" y="43"/>
                    <a:pt x="23" y="88"/>
                  </a:cubicBezTo>
                  <a:cubicBezTo>
                    <a:pt x="23" y="136"/>
                    <a:pt x="43" y="158"/>
                    <a:pt x="74" y="158"/>
                  </a:cubicBezTo>
                  <a:cubicBezTo>
                    <a:pt x="105" y="158"/>
                    <a:pt x="125" y="136"/>
                    <a:pt x="125" y="88"/>
                  </a:cubicBezTo>
                  <a:cubicBezTo>
                    <a:pt x="125" y="46"/>
                    <a:pt x="105" y="20"/>
                    <a:pt x="74" y="20"/>
                  </a:cubicBezTo>
                  <a:close/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2" name="Google Shape;862;g87b7afb683_0_237"/>
            <p:cNvSpPr/>
            <p:nvPr/>
          </p:nvSpPr>
          <p:spPr>
            <a:xfrm>
              <a:off x="4148138" y="2289175"/>
              <a:ext cx="47625" cy="65088"/>
            </a:xfrm>
            <a:custGeom>
              <a:avLst/>
              <a:gdLst/>
              <a:ahLst/>
              <a:cxnLst/>
              <a:rect l="l" t="t" r="r" b="b"/>
              <a:pathLst>
                <a:path w="133" h="179" extrusionOk="0">
                  <a:moveTo>
                    <a:pt x="110" y="175"/>
                  </a:moveTo>
                  <a:lnTo>
                    <a:pt x="110" y="175"/>
                  </a:lnTo>
                  <a:lnTo>
                    <a:pt x="110" y="156"/>
                  </a:lnTo>
                  <a:cubicBezTo>
                    <a:pt x="99" y="170"/>
                    <a:pt x="82" y="178"/>
                    <a:pt x="62" y="178"/>
                  </a:cubicBezTo>
                  <a:cubicBezTo>
                    <a:pt x="25" y="178"/>
                    <a:pt x="0" y="158"/>
                    <a:pt x="0" y="108"/>
                  </a:cubicBezTo>
                  <a:lnTo>
                    <a:pt x="0" y="0"/>
                  </a:lnTo>
                  <a:lnTo>
                    <a:pt x="25" y="0"/>
                  </a:lnTo>
                  <a:lnTo>
                    <a:pt x="25" y="102"/>
                  </a:lnTo>
                  <a:cubicBezTo>
                    <a:pt x="25" y="142"/>
                    <a:pt x="40" y="158"/>
                    <a:pt x="65" y="158"/>
                  </a:cubicBezTo>
                  <a:cubicBezTo>
                    <a:pt x="91" y="158"/>
                    <a:pt x="110" y="142"/>
                    <a:pt x="110" y="102"/>
                  </a:cubicBezTo>
                  <a:lnTo>
                    <a:pt x="110" y="0"/>
                  </a:lnTo>
                  <a:lnTo>
                    <a:pt x="132" y="0"/>
                  </a:lnTo>
                  <a:lnTo>
                    <a:pt x="132" y="175"/>
                  </a:lnTo>
                  <a:lnTo>
                    <a:pt x="110" y="175"/>
                  </a:ln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3" name="Google Shape;863;g87b7afb683_0_237"/>
            <p:cNvSpPr/>
            <p:nvPr/>
          </p:nvSpPr>
          <p:spPr>
            <a:xfrm>
              <a:off x="4210050" y="2339975"/>
              <a:ext cx="15875" cy="15875"/>
            </a:xfrm>
            <a:custGeom>
              <a:avLst/>
              <a:gdLst/>
              <a:ahLst/>
              <a:cxnLst/>
              <a:rect l="l" t="t" r="r" b="b"/>
              <a:pathLst>
                <a:path w="43" h="43" extrusionOk="0">
                  <a:moveTo>
                    <a:pt x="23" y="42"/>
                  </a:moveTo>
                  <a:lnTo>
                    <a:pt x="23" y="42"/>
                  </a:lnTo>
                  <a:cubicBezTo>
                    <a:pt x="11" y="42"/>
                    <a:pt x="0" y="34"/>
                    <a:pt x="0" y="22"/>
                  </a:cubicBezTo>
                  <a:cubicBezTo>
                    <a:pt x="0" y="8"/>
                    <a:pt x="8" y="0"/>
                    <a:pt x="23" y="0"/>
                  </a:cubicBezTo>
                  <a:lnTo>
                    <a:pt x="23" y="0"/>
                  </a:lnTo>
                  <a:cubicBezTo>
                    <a:pt x="34" y="0"/>
                    <a:pt x="42" y="11"/>
                    <a:pt x="42" y="22"/>
                  </a:cubicBezTo>
                  <a:cubicBezTo>
                    <a:pt x="42" y="31"/>
                    <a:pt x="34" y="39"/>
                    <a:pt x="23" y="42"/>
                  </a:cubicBezTo>
                </a:path>
              </a:pathLst>
            </a:custGeom>
            <a:solidFill>
              <a:srgbClr val="18478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4" name="Google Shape;864;g87b7afb683_0_237"/>
          <p:cNvSpPr/>
          <p:nvPr/>
        </p:nvSpPr>
        <p:spPr>
          <a:xfrm>
            <a:off x="745588" y="5265700"/>
            <a:ext cx="1829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ed Beaudoin</a:t>
            </a:r>
            <a:endParaRPr/>
          </a:p>
        </p:txBody>
      </p:sp>
      <p:sp>
        <p:nvSpPr>
          <p:cNvPr id="865" name="Google Shape;865;g87b7afb683_0_237"/>
          <p:cNvSpPr/>
          <p:nvPr/>
        </p:nvSpPr>
        <p:spPr>
          <a:xfrm>
            <a:off x="3429438" y="2952532"/>
            <a:ext cx="2210100" cy="38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Wanda Richardson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6" name="Google Shape;866;g87b7afb683_0_237"/>
          <p:cNvSpPr/>
          <p:nvPr/>
        </p:nvSpPr>
        <p:spPr>
          <a:xfrm>
            <a:off x="3755889" y="5207498"/>
            <a:ext cx="1829700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y Angeles</a:t>
            </a:r>
            <a:endParaRPr dirty="0"/>
          </a:p>
        </p:txBody>
      </p:sp>
      <p:sp>
        <p:nvSpPr>
          <p:cNvPr id="867" name="Google Shape;867;g87b7afb683_0_237"/>
          <p:cNvSpPr/>
          <p:nvPr/>
        </p:nvSpPr>
        <p:spPr>
          <a:xfrm>
            <a:off x="706275" y="2942326"/>
            <a:ext cx="1965600" cy="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d Swerhone</a:t>
            </a:r>
            <a:endParaRPr/>
          </a:p>
        </p:txBody>
      </p:sp>
      <p:pic>
        <p:nvPicPr>
          <p:cNvPr id="868" name="Google Shape;868;g87b7afb683_0_237"/>
          <p:cNvPicPr preferRelativeResize="0"/>
          <p:nvPr/>
        </p:nvPicPr>
        <p:blipFill rotWithShape="1">
          <a:blip r:embed="rId3">
            <a:alphaModFix/>
          </a:blip>
          <a:srcRect l="-1923" t="-2103" r="-5534" b="42851"/>
          <a:stretch/>
        </p:blipFill>
        <p:spPr>
          <a:xfrm>
            <a:off x="6532999" y="1076151"/>
            <a:ext cx="4405688" cy="57882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69" name="Google Shape;869;g87b7afb683_0_237"/>
          <p:cNvGrpSpPr/>
          <p:nvPr/>
        </p:nvGrpSpPr>
        <p:grpSpPr>
          <a:xfrm>
            <a:off x="6229633" y="465598"/>
            <a:ext cx="1591500" cy="1579200"/>
            <a:chOff x="1463420" y="4213315"/>
            <a:chExt cx="1591500" cy="1579200"/>
          </a:xfrm>
        </p:grpSpPr>
        <p:sp>
          <p:nvSpPr>
            <p:cNvPr id="870" name="Google Shape;870;g87b7afb683_0_237"/>
            <p:cNvSpPr/>
            <p:nvPr/>
          </p:nvSpPr>
          <p:spPr>
            <a:xfrm>
              <a:off x="1463420" y="4213315"/>
              <a:ext cx="1591500" cy="1579200"/>
            </a:xfrm>
            <a:prstGeom prst="wedgeEllipseCallout">
              <a:avLst>
                <a:gd name="adj1" fmla="val 52311"/>
                <a:gd name="adj2" fmla="val 38858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FE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71" name="Google Shape;871;g87b7afb683_0_237"/>
            <p:cNvSpPr/>
            <p:nvPr/>
          </p:nvSpPr>
          <p:spPr>
            <a:xfrm>
              <a:off x="1635633" y="4416973"/>
              <a:ext cx="1314300" cy="1200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400" b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EET</a:t>
              </a:r>
              <a:r>
                <a:rPr lang="en-US" sz="24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 the </a:t>
              </a:r>
              <a:r>
                <a:rPr lang="en-US" sz="2400" b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EAM</a:t>
              </a:r>
              <a:endParaRPr sz="24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pic>
        <p:nvPicPr>
          <p:cNvPr id="872" name="Google Shape;872;g87b7afb683_0_23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47825" y="1624448"/>
            <a:ext cx="2313518" cy="1251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73" name="Google Shape;873;g87b7afb683_0_237"/>
          <p:cNvPicPr preferRelativeResize="0"/>
          <p:nvPr/>
        </p:nvPicPr>
        <p:blipFill rotWithShape="1">
          <a:blip r:embed="rId5">
            <a:alphaModFix/>
          </a:blip>
          <a:srcRect l="7366" t="36119" r="55874" b="27761"/>
          <a:stretch/>
        </p:blipFill>
        <p:spPr>
          <a:xfrm>
            <a:off x="745602" y="4028529"/>
            <a:ext cx="2210101" cy="1273821"/>
          </a:xfrm>
          <a:prstGeom prst="rect">
            <a:avLst/>
          </a:prstGeom>
          <a:noFill/>
          <a:ln>
            <a:noFill/>
          </a:ln>
        </p:spPr>
      </p:pic>
      <p:pic>
        <p:nvPicPr>
          <p:cNvPr id="874" name="Google Shape;874;g87b7afb683_0_237"/>
          <p:cNvPicPr preferRelativeResize="0"/>
          <p:nvPr/>
        </p:nvPicPr>
        <p:blipFill rotWithShape="1">
          <a:blip r:embed="rId6">
            <a:alphaModFix/>
          </a:blip>
          <a:srcRect t="24533" b="30674"/>
          <a:stretch/>
        </p:blipFill>
        <p:spPr>
          <a:xfrm>
            <a:off x="3456078" y="4119529"/>
            <a:ext cx="2437400" cy="109180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9" name="Google Shape;879;g87b7afb683_1_0"/>
          <p:cNvSpPr/>
          <p:nvPr/>
        </p:nvSpPr>
        <p:spPr>
          <a:xfrm>
            <a:off x="727125" y="2526525"/>
            <a:ext cx="2330100" cy="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Bill Genovese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Vice President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Huawei Technologies</a:t>
            </a:r>
            <a:endParaRPr sz="1800" b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880" name="Google Shape;880;g87b7afb683_1_0"/>
          <p:cNvPicPr preferRelativeResize="0"/>
          <p:nvPr/>
        </p:nvPicPr>
        <p:blipFill rotWithShape="1">
          <a:blip r:embed="rId3">
            <a:alphaModFix/>
          </a:blip>
          <a:srcRect l="-1923" t="-2103" r="-5534" b="42851"/>
          <a:stretch/>
        </p:blipFill>
        <p:spPr>
          <a:xfrm>
            <a:off x="6532999" y="1076151"/>
            <a:ext cx="4405688" cy="57882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81" name="Google Shape;881;g87b7afb683_1_0"/>
          <p:cNvGrpSpPr/>
          <p:nvPr/>
        </p:nvGrpSpPr>
        <p:grpSpPr>
          <a:xfrm>
            <a:off x="6229633" y="465598"/>
            <a:ext cx="1591500" cy="1579200"/>
            <a:chOff x="1463420" y="4213315"/>
            <a:chExt cx="1591500" cy="1579200"/>
          </a:xfrm>
        </p:grpSpPr>
        <p:sp>
          <p:nvSpPr>
            <p:cNvPr id="882" name="Google Shape;882;g87b7afb683_1_0"/>
            <p:cNvSpPr/>
            <p:nvPr/>
          </p:nvSpPr>
          <p:spPr>
            <a:xfrm>
              <a:off x="1463420" y="4213315"/>
              <a:ext cx="1591500" cy="1579200"/>
            </a:xfrm>
            <a:prstGeom prst="wedgeEllipseCallout">
              <a:avLst>
                <a:gd name="adj1" fmla="val 52311"/>
                <a:gd name="adj2" fmla="val 38858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FEFFFF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883" name="Google Shape;883;g87b7afb683_1_0"/>
            <p:cNvSpPr/>
            <p:nvPr/>
          </p:nvSpPr>
          <p:spPr>
            <a:xfrm>
              <a:off x="1546462" y="4416967"/>
              <a:ext cx="1391700" cy="1200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400" b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MEET</a:t>
              </a:r>
              <a:r>
                <a:rPr lang="en-US" sz="24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 </a:t>
              </a:r>
              <a:endParaRPr sz="24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4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he </a:t>
              </a:r>
              <a:r>
                <a:rPr lang="en-US" sz="2400" b="1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EXPERTS</a:t>
              </a:r>
              <a:endParaRPr sz="2400" b="1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pic>
        <p:nvPicPr>
          <p:cNvPr id="884" name="Google Shape;884;g87b7afb683_1_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48350" y="696825"/>
            <a:ext cx="1829698" cy="1829702"/>
          </a:xfrm>
          <a:prstGeom prst="rect">
            <a:avLst/>
          </a:prstGeom>
          <a:noFill/>
          <a:ln>
            <a:noFill/>
          </a:ln>
        </p:spPr>
      </p:pic>
      <p:pic>
        <p:nvPicPr>
          <p:cNvPr id="885" name="Google Shape;885;g87b7afb683_1_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999362" y="762924"/>
            <a:ext cx="1591500" cy="1591500"/>
          </a:xfrm>
          <a:prstGeom prst="rect">
            <a:avLst/>
          </a:prstGeom>
          <a:noFill/>
          <a:ln>
            <a:noFill/>
          </a:ln>
        </p:spPr>
      </p:pic>
      <p:sp>
        <p:nvSpPr>
          <p:cNvPr id="886" name="Google Shape;886;g87b7afb683_1_0"/>
          <p:cNvSpPr/>
          <p:nvPr/>
        </p:nvSpPr>
        <p:spPr>
          <a:xfrm>
            <a:off x="3880266" y="2510011"/>
            <a:ext cx="1829700" cy="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Laura McKay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Co-Founder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PolicyMe</a:t>
            </a:r>
            <a:endParaRPr sz="1800" b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7" name="Google Shape;887;g87b7afb683_1_0"/>
          <p:cNvSpPr/>
          <p:nvPr/>
        </p:nvSpPr>
        <p:spPr>
          <a:xfrm>
            <a:off x="3672301" y="5551574"/>
            <a:ext cx="2330100" cy="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Trevor Gary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Founder and CEO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Micruity</a:t>
            </a:r>
            <a:endParaRPr sz="1800" b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888" name="Google Shape;888;g87b7afb683_1_0"/>
          <p:cNvPicPr preferRelativeResize="0"/>
          <p:nvPr/>
        </p:nvPicPr>
        <p:blipFill rotWithShape="1">
          <a:blip r:embed="rId6">
            <a:alphaModFix/>
          </a:blip>
          <a:srcRect l="34070" t="14478" r="34260" b="13308"/>
          <a:stretch/>
        </p:blipFill>
        <p:spPr>
          <a:xfrm>
            <a:off x="3781575" y="3804500"/>
            <a:ext cx="2111550" cy="1829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89" name="Google Shape;889;g87b7afb683_1_0"/>
          <p:cNvPicPr preferRelativeResize="0"/>
          <p:nvPr/>
        </p:nvPicPr>
        <p:blipFill rotWithShape="1">
          <a:blip r:embed="rId7">
            <a:alphaModFix/>
          </a:blip>
          <a:srcRect t="21476" b="20853"/>
          <a:stretch/>
        </p:blipFill>
        <p:spPr>
          <a:xfrm>
            <a:off x="523013" y="3929750"/>
            <a:ext cx="2738326" cy="1579200"/>
          </a:xfrm>
          <a:prstGeom prst="rect">
            <a:avLst/>
          </a:prstGeom>
          <a:noFill/>
          <a:ln>
            <a:noFill/>
          </a:ln>
        </p:spPr>
      </p:pic>
      <p:sp>
        <p:nvSpPr>
          <p:cNvPr id="890" name="Google Shape;890;g87b7afb683_1_0"/>
          <p:cNvSpPr/>
          <p:nvPr/>
        </p:nvSpPr>
        <p:spPr>
          <a:xfrm>
            <a:off x="727125" y="5594724"/>
            <a:ext cx="2330100" cy="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Rainer Takahashi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>
                <a:latin typeface="Calibri"/>
                <a:ea typeface="Calibri"/>
                <a:cs typeface="Calibri"/>
                <a:sym typeface="Calibri"/>
              </a:rPr>
              <a:t>Founder</a:t>
            </a:r>
            <a:br>
              <a:rPr lang="en-US" sz="180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 b="1">
                <a:latin typeface="Calibri"/>
                <a:ea typeface="Calibri"/>
                <a:cs typeface="Calibri"/>
                <a:sym typeface="Calibri"/>
              </a:rPr>
              <a:t>Jauntin’</a:t>
            </a:r>
            <a:endParaRPr sz="1800" b="1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15CADF-F608-41EA-8BFB-3EE3C05A13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73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15CADF-F608-41EA-8BFB-3EE3C05A13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7F122FB-7D32-4A5D-A4B4-CD53603C9C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CA" sz="2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83DE91-138B-4466-B334-51E3517F0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249" y="797921"/>
            <a:ext cx="4660263" cy="284700"/>
          </a:xfrm>
        </p:spPr>
        <p:txBody>
          <a:bodyPr/>
          <a:lstStyle/>
          <a:p>
            <a:pPr algn="ctr"/>
            <a:r>
              <a:rPr lang="fr-CA" sz="2400" b="1" dirty="0"/>
              <a:t>THE PROBLEM</a:t>
            </a:r>
            <a:endParaRPr lang="en-CA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B6529A-D1E7-47F7-87C3-90301B9E022B}"/>
              </a:ext>
            </a:extLst>
          </p:cNvPr>
          <p:cNvSpPr txBox="1"/>
          <p:nvPr/>
        </p:nvSpPr>
        <p:spPr>
          <a:xfrm>
            <a:off x="442913" y="2644170"/>
            <a:ext cx="56530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3200" b="1" dirty="0" err="1"/>
              <a:t>We</a:t>
            </a:r>
            <a:r>
              <a:rPr lang="fr-CA" sz="3200" b="1" dirty="0"/>
              <a:t> are Fred et ED </a:t>
            </a:r>
            <a:br>
              <a:rPr lang="fr-CA" sz="3200" b="1" dirty="0"/>
            </a:br>
            <a:r>
              <a:rPr lang="fr-CA" sz="3200" b="1" dirty="0" err="1"/>
              <a:t>from</a:t>
            </a:r>
            <a:r>
              <a:rPr lang="fr-CA" sz="3200" b="1" dirty="0"/>
              <a:t> </a:t>
            </a:r>
            <a:br>
              <a:rPr lang="fr-CA" sz="3200" b="1" dirty="0"/>
            </a:br>
            <a:r>
              <a:rPr lang="fr-CA" sz="3200" b="1" dirty="0"/>
              <a:t>Big Bad Wolfe </a:t>
            </a:r>
            <a:r>
              <a:rPr lang="fr-CA" sz="3200" b="1" dirty="0" err="1"/>
              <a:t>Insurance</a:t>
            </a:r>
            <a:endParaRPr lang="en-CA" sz="3200" b="1" dirty="0"/>
          </a:p>
        </p:txBody>
      </p:sp>
      <p:sp>
        <p:nvSpPr>
          <p:cNvPr id="4" name="Google Shape;895;p3">
            <a:extLst>
              <a:ext uri="{FF2B5EF4-FFF2-40B4-BE49-F238E27FC236}">
                <a16:creationId xmlns:a16="http://schemas.microsoft.com/office/drawing/2014/main" id="{C2D251D0-7D0C-4117-A514-A578DF446C56}"/>
              </a:ext>
            </a:extLst>
          </p:cNvPr>
          <p:cNvSpPr txBox="1"/>
          <p:nvPr/>
        </p:nvSpPr>
        <p:spPr>
          <a:xfrm>
            <a:off x="6096000" y="1042294"/>
            <a:ext cx="5520000" cy="5196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C0C0C"/>
              </a:buClr>
              <a:buSzPts val="1800"/>
              <a:buFont typeface="Courier New"/>
              <a:buNone/>
            </a:pPr>
            <a:endParaRPr sz="3000" b="0" i="0" u="none" strike="noStrike" cap="none" dirty="0">
              <a:solidFill>
                <a:srgbClr val="33303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445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3000"/>
              <a:buFont typeface="Courier New"/>
              <a:buChar char="o"/>
            </a:pPr>
            <a:r>
              <a:rPr lang="en-US" sz="3000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How might we </a:t>
            </a:r>
            <a:r>
              <a:rPr lang="en-US" sz="3000" b="1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ccelerate </a:t>
            </a:r>
            <a:r>
              <a:rPr lang="en-US" sz="3000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nd </a:t>
            </a:r>
            <a:r>
              <a:rPr lang="en-US" sz="3000" b="1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crease </a:t>
            </a:r>
            <a:r>
              <a:rPr lang="en-US" sz="3000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mpetitiveness through </a:t>
            </a:r>
            <a:r>
              <a:rPr lang="en-US" sz="3000" b="1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ollaboration </a:t>
            </a:r>
            <a:r>
              <a:rPr lang="en-US" sz="3000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with startups while </a:t>
            </a:r>
            <a:r>
              <a:rPr lang="en-US" sz="3000" b="1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learning </a:t>
            </a:r>
            <a:r>
              <a:rPr lang="en-US" sz="3000" dirty="0">
                <a:solidFill>
                  <a:srgbClr val="61616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from their agility and expertise?”</a:t>
            </a:r>
            <a:endParaRPr sz="3000" u="none" strike="noStrike" cap="none" dirty="0">
              <a:solidFill>
                <a:srgbClr val="33303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000" b="0" i="0" u="none" strike="noStrike" cap="none" dirty="0">
              <a:solidFill>
                <a:srgbClr val="33303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87602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3124"/>
        </a:solidFill>
        <a:effectLst/>
      </p:bgPr>
    </p:bg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1B9AEA-08C7-4707-9841-2916EB5037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18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71B9AEA-08C7-4707-9841-2916EB503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7" name="Google Shape;897;p3"/>
          <p:cNvSpPr txBox="1"/>
          <p:nvPr/>
        </p:nvSpPr>
        <p:spPr>
          <a:xfrm>
            <a:off x="6161518" y="987160"/>
            <a:ext cx="5879506" cy="4926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17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600"/>
            </a:pPr>
            <a:r>
              <a:rPr lang="en-US" sz="26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uring the COVID lockdown…</a:t>
            </a:r>
          </a:p>
          <a:p>
            <a:pPr marL="317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600"/>
            </a:pPr>
            <a:r>
              <a:rPr lang="en-US" sz="2600" u="none" strike="noStrike" cap="none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We lock oursel</a:t>
            </a:r>
            <a:r>
              <a:rPr lang="en-US" sz="26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ves in for 4 afternoons… </a:t>
            </a:r>
          </a:p>
          <a:p>
            <a:pPr marL="317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600"/>
            </a:pPr>
            <a:r>
              <a:rPr lang="en-US" sz="2600" dirty="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With Cookhouse Labs to fix our problem!</a:t>
            </a:r>
          </a:p>
          <a:p>
            <a:pPr marL="457200" marR="0" lvl="0" indent="-4254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600"/>
              <a:buFont typeface="Century Gothic"/>
              <a:buChar char="o"/>
            </a:pPr>
            <a:endParaRPr sz="2600" u="none" strike="noStrike" cap="none" dirty="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" name="Google Shape;897;p3">
            <a:extLst>
              <a:ext uri="{FF2B5EF4-FFF2-40B4-BE49-F238E27FC236}">
                <a16:creationId xmlns:a16="http://schemas.microsoft.com/office/drawing/2014/main" id="{1B779924-841F-4DAB-82A5-108C9EDB8710}"/>
              </a:ext>
            </a:extLst>
          </p:cNvPr>
          <p:cNvSpPr txBox="1"/>
          <p:nvPr/>
        </p:nvSpPr>
        <p:spPr>
          <a:xfrm>
            <a:off x="241616" y="987160"/>
            <a:ext cx="5520000" cy="5687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1750">
              <a:lnSpc>
                <a:spcPct val="150000"/>
              </a:lnSpc>
              <a:buClr>
                <a:srgbClr val="FFFFFF"/>
              </a:buClr>
              <a:buSzPts val="2600"/>
            </a:pPr>
            <a:r>
              <a:rPr lang="en-US" sz="2600" dirty="0">
                <a:solidFill>
                  <a:schemeClr val="tx1"/>
                </a:solidFill>
                <a:latin typeface="Century Gothic"/>
                <a:sym typeface="Century Gothic"/>
              </a:rPr>
              <a:t>What are the advantages and what are the pitfalls to be avoided, as a corporation?</a:t>
            </a:r>
          </a:p>
          <a:p>
            <a:pPr marL="31750">
              <a:lnSpc>
                <a:spcPct val="150000"/>
              </a:lnSpc>
              <a:buClr>
                <a:srgbClr val="FFFFFF"/>
              </a:buClr>
              <a:buSzPts val="2600"/>
            </a:pPr>
            <a:endParaRPr lang="en-US" sz="2600" dirty="0">
              <a:solidFill>
                <a:schemeClr val="tx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317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600"/>
            </a:pPr>
            <a:r>
              <a:rPr lang="en-US" sz="2600" dirty="0">
                <a:solidFill>
                  <a:schemeClr val="tx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re there proven ways to decrease the problems and issues that may arise from these collaboration attempts?</a:t>
            </a:r>
            <a:endParaRPr sz="2600" u="none" strike="noStrike" cap="none" dirty="0">
              <a:solidFill>
                <a:schemeClr val="tx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4DFC420-0137-4044-8B3E-69BD2930B35D}"/>
              </a:ext>
            </a:extLst>
          </p:cNvPr>
          <p:cNvSpPr txBox="1">
            <a:spLocks/>
          </p:cNvSpPr>
          <p:nvPr/>
        </p:nvSpPr>
        <p:spPr>
          <a:xfrm>
            <a:off x="241616" y="702460"/>
            <a:ext cx="55200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CA" sz="2400" b="1" dirty="0"/>
              <a:t>ADDITIONAL QUESTIONS</a:t>
            </a:r>
            <a:endParaRPr lang="en-CA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2AABDBD-1278-4641-AD17-05D259AA5709}"/>
              </a:ext>
            </a:extLst>
          </p:cNvPr>
          <p:cNvSpPr txBox="1">
            <a:spLocks/>
          </p:cNvSpPr>
          <p:nvPr/>
        </p:nvSpPr>
        <p:spPr>
          <a:xfrm>
            <a:off x="6319100" y="702460"/>
            <a:ext cx="55200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CA" sz="2400" b="1" dirty="0"/>
              <a:t>OUR JOURNEY</a:t>
            </a:r>
            <a:endParaRPr lang="en-CA" b="1" dirty="0"/>
          </a:p>
        </p:txBody>
      </p:sp>
    </p:spTree>
  </p:cSld>
  <p:clrMapOvr>
    <a:masterClrMapping/>
  </p:clrMapOvr>
  <p:transition spd="slow">
    <p:push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104695-2C7F-48AF-8F96-4D61C36504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643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104695-2C7F-48AF-8F96-4D61C36504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2" name="Google Shape;902;g7789513a70_0_1024"/>
          <p:cNvSpPr txBox="1"/>
          <p:nvPr/>
        </p:nvSpPr>
        <p:spPr>
          <a:xfrm>
            <a:off x="354125" y="1371601"/>
            <a:ext cx="5520000" cy="47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572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2300"/>
              <a:buFont typeface="Courier New"/>
              <a:buChar char="o"/>
            </a:pPr>
            <a:r>
              <a:rPr lang="en-US" sz="2300" b="1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6</a:t>
            </a:r>
            <a:r>
              <a:rPr lang="en-US" sz="2300" b="1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en-US" sz="2300" b="0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hours</a:t>
            </a:r>
            <a:endParaRPr sz="2300" b="0" i="0" u="none" strike="noStrike" cap="none" dirty="0">
              <a:solidFill>
                <a:srgbClr val="33303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457200" marR="0" lvl="0" indent="-4572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2300"/>
              <a:buFont typeface="Courier New"/>
              <a:buChar char="o"/>
            </a:pPr>
            <a:r>
              <a:rPr lang="en-US" sz="2300" b="1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5</a:t>
            </a:r>
            <a:r>
              <a:rPr lang="en-US" sz="2300" b="1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en-US" sz="2300" b="0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deas in 5 minutes</a:t>
            </a: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572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2300"/>
              <a:buFont typeface="Courier New"/>
              <a:buChar char="o"/>
            </a:pPr>
            <a:r>
              <a:rPr lang="en-US" sz="2300" b="1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3 </a:t>
            </a:r>
            <a:r>
              <a:rPr lang="en-US" sz="2300" b="0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rganizations</a:t>
            </a: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4572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33032"/>
              </a:buClr>
              <a:buSzPts val="2300"/>
              <a:buFont typeface="Courier New"/>
              <a:buChar char="o"/>
            </a:pPr>
            <a:r>
              <a:rPr lang="en-US" sz="2300" b="1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4</a:t>
            </a:r>
            <a:r>
              <a:rPr lang="en-US" sz="2300" b="1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r>
              <a:rPr lang="en-US" sz="2300" b="0" i="0" u="none" strike="noStrike" cap="none" dirty="0">
                <a:solidFill>
                  <a:srgbClr val="33303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asterminds interviewed for testing</a:t>
            </a:r>
            <a:endParaRPr sz="2300" b="0" i="0" u="none" strike="noStrike" cap="none" dirty="0">
              <a:solidFill>
                <a:srgbClr val="33303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C0C0C"/>
              </a:buClr>
              <a:buSzPts val="1800"/>
              <a:buFont typeface="Courier New"/>
              <a:buNone/>
            </a:pPr>
            <a:endParaRPr sz="2300" b="0" i="0" u="none" strike="noStrike" cap="none" dirty="0">
              <a:solidFill>
                <a:srgbClr val="33303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04" name="Google Shape;904;g7789513a70_0_1024"/>
          <p:cNvSpPr txBox="1"/>
          <p:nvPr/>
        </p:nvSpPr>
        <p:spPr>
          <a:xfrm>
            <a:off x="6569765" y="1371601"/>
            <a:ext cx="5179200" cy="47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r>
              <a:rPr lang="en-US" sz="1800">
                <a:solidFill>
                  <a:srgbClr val="FFFF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5</a:t>
            </a:r>
            <a:r>
              <a:rPr lang="en-US" sz="1800" b="0" i="0" u="none" strike="noStrike" cap="none">
                <a:solidFill>
                  <a:srgbClr val="FFFF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ideas</a:t>
            </a:r>
            <a:r>
              <a:rPr lang="en-US"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in 5 minu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r>
              <a:rPr lang="en-US" sz="1800">
                <a:solidFill>
                  <a:srgbClr val="FFFF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4</a:t>
            </a:r>
            <a:r>
              <a:rPr lang="en-US" sz="1800" b="0" i="0" u="none" strike="noStrike" cap="none">
                <a:solidFill>
                  <a:srgbClr val="FFFF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 masterminds </a:t>
            </a:r>
            <a:r>
              <a:rPr lang="en-US"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interviewed </a:t>
            </a: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r>
              <a:rPr lang="en-US" sz="1800" b="0" i="0" u="none" strike="noStrike" cap="none">
                <a:solidFill>
                  <a:srgbClr val="FFFF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 sketch </a:t>
            </a:r>
            <a:r>
              <a:rPr lang="en-US"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of solu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r>
              <a:rPr lang="en-US" sz="1800" b="0" i="0" u="none" strike="noStrike" cap="none">
                <a:solidFill>
                  <a:srgbClr val="FFFF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 </a:t>
            </a:r>
            <a:r>
              <a:rPr lang="en-US" sz="1800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Hi-fi level 2 </a:t>
            </a:r>
            <a:r>
              <a:rPr lang="en-US" sz="1800" b="0" i="0" u="none" strike="noStrike" cap="none">
                <a:solidFill>
                  <a:srgbClr val="FFFF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rototype</a:t>
            </a:r>
            <a:endParaRPr sz="1400" b="0" i="0" u="none" strike="noStrike" cap="none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DC39BB0-D946-408F-80B4-3228A56170CD}"/>
              </a:ext>
            </a:extLst>
          </p:cNvPr>
          <p:cNvSpPr txBox="1">
            <a:spLocks/>
          </p:cNvSpPr>
          <p:nvPr/>
        </p:nvSpPr>
        <p:spPr>
          <a:xfrm>
            <a:off x="180713" y="745857"/>
            <a:ext cx="55200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entury Gothic"/>
              <a:buNone/>
              <a:defRPr sz="160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CA" sz="2400" b="1" dirty="0"/>
              <a:t>WHAT WE DID</a:t>
            </a:r>
            <a:endParaRPr lang="en-CA" b="1" dirty="0"/>
          </a:p>
        </p:txBody>
      </p:sp>
    </p:spTree>
  </p:cSld>
  <p:clrMapOvr>
    <a:masterClrMapping/>
  </p:clrMapOvr>
  <p:transition spd="slow">
    <p:push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g87b7afb683_1_488"/>
          <p:cNvSpPr txBox="1"/>
          <p:nvPr/>
        </p:nvSpPr>
        <p:spPr>
          <a:xfrm>
            <a:off x="298488" y="5307395"/>
            <a:ext cx="7193400" cy="1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800" b="1">
                <a:solidFill>
                  <a:srgbClr val="595959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search insights</a:t>
            </a:r>
            <a:endParaRPr sz="4800" b="1">
              <a:solidFill>
                <a:srgbClr val="595959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10" name="Google Shape;910;g87b7afb683_1_48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entury Gothic"/>
              <a:buNone/>
            </a:pPr>
            <a:r>
              <a:rPr lang="en-US"/>
              <a:t>DISCOVERY</a:t>
            </a:r>
            <a:endParaRPr/>
          </a:p>
        </p:txBody>
      </p:sp>
      <p:grpSp>
        <p:nvGrpSpPr>
          <p:cNvPr id="911" name="Google Shape;911;g87b7afb683_1_488"/>
          <p:cNvGrpSpPr/>
          <p:nvPr/>
        </p:nvGrpSpPr>
        <p:grpSpPr>
          <a:xfrm>
            <a:off x="1112431" y="404820"/>
            <a:ext cx="10225751" cy="5542349"/>
            <a:chOff x="1473205" y="444414"/>
            <a:chExt cx="9083904" cy="4972947"/>
          </a:xfrm>
        </p:grpSpPr>
        <p:sp>
          <p:nvSpPr>
            <p:cNvPr id="912" name="Google Shape;912;g87b7afb683_1_488"/>
            <p:cNvSpPr/>
            <p:nvPr/>
          </p:nvSpPr>
          <p:spPr>
            <a:xfrm>
              <a:off x="2530154" y="590425"/>
              <a:ext cx="1058400" cy="10392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easons: harness data &gt; respond to untapped opportunities</a:t>
              </a:r>
              <a:endParaRPr/>
            </a:p>
          </p:txBody>
        </p:sp>
        <p:sp>
          <p:nvSpPr>
            <p:cNvPr id="913" name="Google Shape;913;g87b7afb683_1_488"/>
            <p:cNvSpPr/>
            <p:nvPr/>
          </p:nvSpPr>
          <p:spPr>
            <a:xfrm>
              <a:off x="3814046" y="444414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tartups are fun</a:t>
              </a:r>
              <a:endParaRPr sz="1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14" name="Google Shape;914;g87b7afb683_1_488"/>
            <p:cNvSpPr/>
            <p:nvPr/>
          </p:nvSpPr>
          <p:spPr>
            <a:xfrm>
              <a:off x="2665544" y="1685780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Establish strong communication channels</a:t>
              </a:r>
              <a:endParaRPr/>
            </a:p>
          </p:txBody>
        </p:sp>
        <p:sp>
          <p:nvSpPr>
            <p:cNvPr id="915" name="Google Shape;915;g87b7afb683_1_488"/>
            <p:cNvSpPr/>
            <p:nvPr/>
          </p:nvSpPr>
          <p:spPr>
            <a:xfrm>
              <a:off x="3942027" y="1743238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NDAs, Transparency, Relationship Building, Trust Building</a:t>
              </a:r>
              <a:endParaRPr/>
            </a:p>
          </p:txBody>
        </p:sp>
        <p:sp>
          <p:nvSpPr>
            <p:cNvPr id="916" name="Google Shape;916;g87b7afb683_1_488"/>
            <p:cNvSpPr/>
            <p:nvPr/>
          </p:nvSpPr>
          <p:spPr>
            <a:xfrm>
              <a:off x="9106451" y="1787941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Define objectives</a:t>
              </a:r>
              <a:endParaRPr sz="105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17" name="Google Shape;917;g87b7afb683_1_488"/>
            <p:cNvSpPr/>
            <p:nvPr/>
          </p:nvSpPr>
          <p:spPr>
            <a:xfrm>
              <a:off x="5077567" y="524811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B2B(2B2B) relationships built as Ecosystems </a:t>
              </a:r>
              <a:endParaRPr/>
            </a:p>
          </p:txBody>
        </p:sp>
        <p:sp>
          <p:nvSpPr>
            <p:cNvPr id="918" name="Google Shape;918;g87b7afb683_1_488"/>
            <p:cNvSpPr/>
            <p:nvPr/>
          </p:nvSpPr>
          <p:spPr>
            <a:xfrm>
              <a:off x="5239642" y="1787941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olving problems</a:t>
              </a:r>
              <a:endParaRPr sz="16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19" name="Google Shape;919;g87b7afb683_1_488"/>
            <p:cNvSpPr/>
            <p:nvPr/>
          </p:nvSpPr>
          <p:spPr>
            <a:xfrm>
              <a:off x="1473205" y="1771019"/>
              <a:ext cx="1110300" cy="10392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easons: Overcome challenge</a:t>
              </a:r>
              <a:endParaRPr/>
            </a:p>
          </p:txBody>
        </p:sp>
        <p:sp>
          <p:nvSpPr>
            <p:cNvPr id="920" name="Google Shape;920;g87b7afb683_1_488"/>
            <p:cNvSpPr/>
            <p:nvPr/>
          </p:nvSpPr>
          <p:spPr>
            <a:xfrm>
              <a:off x="1527419" y="3058360"/>
              <a:ext cx="1067100" cy="10392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ince 2017 - more than 180 partnerships worldwide</a:t>
              </a:r>
              <a:endParaRPr/>
            </a:p>
          </p:txBody>
        </p:sp>
        <p:sp>
          <p:nvSpPr>
            <p:cNvPr id="921" name="Google Shape;921;g87b7afb683_1_488"/>
            <p:cNvSpPr/>
            <p:nvPr/>
          </p:nvSpPr>
          <p:spPr>
            <a:xfrm>
              <a:off x="3176477" y="4125098"/>
              <a:ext cx="1067100" cy="10392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Optimize biz structure - based on requirements (legislation) </a:t>
              </a:r>
              <a:endParaRPr/>
            </a:p>
          </p:txBody>
        </p:sp>
        <p:sp>
          <p:nvSpPr>
            <p:cNvPr id="922" name="Google Shape;922;g87b7afb683_1_488"/>
            <p:cNvSpPr/>
            <p:nvPr/>
          </p:nvSpPr>
          <p:spPr>
            <a:xfrm>
              <a:off x="7831921" y="3017041"/>
              <a:ext cx="1067100" cy="1039200"/>
            </a:xfrm>
            <a:prstGeom prst="rect">
              <a:avLst/>
            </a:prstGeom>
            <a:solidFill>
              <a:srgbClr val="CBF9F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325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easons: Become faster - more nimble</a:t>
              </a:r>
              <a:endParaRPr sz="8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23" name="Google Shape;923;g87b7afb683_1_488"/>
            <p:cNvSpPr/>
            <p:nvPr/>
          </p:nvSpPr>
          <p:spPr>
            <a:xfrm>
              <a:off x="6885363" y="4308810"/>
              <a:ext cx="1067100" cy="1039200"/>
            </a:xfrm>
            <a:prstGeom prst="rect">
              <a:avLst/>
            </a:prstGeom>
            <a:solidFill>
              <a:srgbClr val="FAD4D1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nnov. exists already in companies, how do we organize it</a:t>
              </a:r>
              <a:endParaRPr/>
            </a:p>
          </p:txBody>
        </p:sp>
        <p:sp>
          <p:nvSpPr>
            <p:cNvPr id="924" name="Google Shape;924;g87b7afb683_1_488"/>
            <p:cNvSpPr/>
            <p:nvPr/>
          </p:nvSpPr>
          <p:spPr>
            <a:xfrm>
              <a:off x="9152731" y="3026669"/>
              <a:ext cx="1067100" cy="10392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Think small and educate </a:t>
              </a:r>
              <a:endParaRPr sz="11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25" name="Google Shape;925;g87b7afb683_1_488"/>
            <p:cNvSpPr/>
            <p:nvPr/>
          </p:nvSpPr>
          <p:spPr>
            <a:xfrm>
              <a:off x="9490009" y="4204956"/>
              <a:ext cx="1067100" cy="1039200"/>
            </a:xfrm>
            <a:prstGeom prst="rect">
              <a:avLst/>
            </a:prstGeom>
            <a:solidFill>
              <a:srgbClr val="DDF4AD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Internal initiatives </a:t>
              </a:r>
              <a:endParaRPr sz="11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26" name="Google Shape;926;g87b7afb683_1_488"/>
            <p:cNvSpPr/>
            <p:nvPr/>
          </p:nvSpPr>
          <p:spPr>
            <a:xfrm>
              <a:off x="6418272" y="598542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Needs: mutual data security expectations</a:t>
              </a:r>
              <a:endParaRPr sz="10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27" name="Google Shape;927;g87b7afb683_1_488"/>
            <p:cNvSpPr/>
            <p:nvPr/>
          </p:nvSpPr>
          <p:spPr>
            <a:xfrm>
              <a:off x="7786790" y="547507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Relationship types: New Distribution or New ability (SaaS, APIs)</a:t>
              </a:r>
              <a:endParaRPr/>
            </a:p>
          </p:txBody>
        </p:sp>
        <p:sp>
          <p:nvSpPr>
            <p:cNvPr id="928" name="Google Shape;928;g87b7afb683_1_488"/>
            <p:cNvSpPr/>
            <p:nvPr/>
          </p:nvSpPr>
          <p:spPr>
            <a:xfrm>
              <a:off x="6479109" y="1787941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Pilots: Solve for a Known problem</a:t>
              </a:r>
              <a:endParaRPr sz="12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29" name="Google Shape;929;g87b7afb683_1_488"/>
            <p:cNvSpPr/>
            <p:nvPr/>
          </p:nvSpPr>
          <p:spPr>
            <a:xfrm>
              <a:off x="7718576" y="1787941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ttitudes</a:t>
              </a:r>
              <a:endParaRPr sz="12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30" name="Google Shape;930;g87b7afb683_1_488"/>
            <p:cNvSpPr/>
            <p:nvPr/>
          </p:nvSpPr>
          <p:spPr>
            <a:xfrm>
              <a:off x="2729614" y="2967998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Establish strong communication channels</a:t>
              </a:r>
              <a:endParaRPr/>
            </a:p>
          </p:txBody>
        </p:sp>
        <p:sp>
          <p:nvSpPr>
            <p:cNvPr id="931" name="Google Shape;931;g87b7afb683_1_488"/>
            <p:cNvSpPr/>
            <p:nvPr/>
          </p:nvSpPr>
          <p:spPr>
            <a:xfrm>
              <a:off x="1809812" y="4334361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tartups are searching to improve insurance activities rather than replacing it </a:t>
              </a:r>
              <a:endParaRPr/>
            </a:p>
          </p:txBody>
        </p:sp>
        <p:sp>
          <p:nvSpPr>
            <p:cNvPr id="932" name="Google Shape;932;g87b7afb683_1_488"/>
            <p:cNvSpPr/>
            <p:nvPr/>
          </p:nvSpPr>
          <p:spPr>
            <a:xfrm>
              <a:off x="4313976" y="4107022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tart-ups ability to pivot based on consumer insight or intuition</a:t>
              </a:r>
              <a:endParaRPr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33" name="Google Shape;933;g87b7afb683_1_488"/>
            <p:cNvSpPr/>
            <p:nvPr/>
          </p:nvSpPr>
          <p:spPr>
            <a:xfrm>
              <a:off x="4105849" y="2945965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hould result in a win-win (share asset and strengths)</a:t>
              </a:r>
              <a:endParaRPr sz="900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934" name="Google Shape;934;g87b7afb683_1_488"/>
            <p:cNvSpPr/>
            <p:nvPr/>
          </p:nvSpPr>
          <p:spPr>
            <a:xfrm>
              <a:off x="5597806" y="4264987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tart-ups projects aligned to pilot projects in gain traction and reduce internal change resistance</a:t>
              </a:r>
              <a:endParaRPr/>
            </a:p>
          </p:txBody>
        </p:sp>
        <p:sp>
          <p:nvSpPr>
            <p:cNvPr id="935" name="Google Shape;935;g87b7afb683_1_488"/>
            <p:cNvSpPr/>
            <p:nvPr/>
          </p:nvSpPr>
          <p:spPr>
            <a:xfrm>
              <a:off x="5320713" y="2926454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Align with internal departments</a:t>
              </a:r>
              <a:endParaRPr/>
            </a:p>
          </p:txBody>
        </p:sp>
        <p:sp>
          <p:nvSpPr>
            <p:cNvPr id="936" name="Google Shape;936;g87b7afb683_1_488"/>
            <p:cNvSpPr/>
            <p:nvPr/>
          </p:nvSpPr>
          <p:spPr>
            <a:xfrm>
              <a:off x="6561632" y="3014537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Common understanding of strong use cases</a:t>
              </a:r>
              <a:endParaRPr/>
            </a:p>
          </p:txBody>
        </p:sp>
        <p:sp>
          <p:nvSpPr>
            <p:cNvPr id="937" name="Google Shape;937;g87b7afb683_1_488"/>
            <p:cNvSpPr/>
            <p:nvPr/>
          </p:nvSpPr>
          <p:spPr>
            <a:xfrm>
              <a:off x="8091549" y="4221574"/>
              <a:ext cx="1157400" cy="1083000"/>
            </a:xfrm>
            <a:prstGeom prst="rect">
              <a:avLst/>
            </a:prstGeom>
            <a:solidFill>
              <a:srgbClr val="FEF999"/>
            </a:solidFill>
            <a:ln>
              <a:noFill/>
            </a:ln>
            <a:effectLst>
              <a:outerShdw blurRad="50800" dist="12700" dir="2700000" algn="tl" rotWithShape="0">
                <a:srgbClr val="000000">
                  <a:alpha val="298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>
                  <a:solidFill>
                    <a:schemeClr val="dk1"/>
                  </a:solidFill>
                  <a:latin typeface="Century Gothic"/>
                  <a:ea typeface="Century Gothic"/>
                  <a:cs typeface="Century Gothic"/>
                  <a:sym typeface="Century Gothic"/>
                </a:rPr>
                <a:t>Startups focus on what traditional companies lack now</a:t>
              </a:r>
              <a:endParaRPr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" name="Google Shape;943;g87b7afb683_0_47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44" name="Google Shape;944;g87b7afb683_0_47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9525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45" name="Google Shape;945;g87b7afb683_0_478"/>
          <p:cNvSpPr txBox="1"/>
          <p:nvPr/>
        </p:nvSpPr>
        <p:spPr>
          <a:xfrm>
            <a:off x="4774950" y="2968875"/>
            <a:ext cx="2642100" cy="78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>
                <a:latin typeface="Century Gothic"/>
                <a:ea typeface="Century Gothic"/>
                <a:cs typeface="Century Gothic"/>
                <a:sym typeface="Century Gothic"/>
              </a:rPr>
              <a:t>GAINS FROM COLLABORATION</a:t>
            </a:r>
            <a:endParaRPr sz="2200" b="1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46" name="Google Shape;946;g87b7afb683_0_478"/>
          <p:cNvSpPr txBox="1"/>
          <p:nvPr/>
        </p:nvSpPr>
        <p:spPr>
          <a:xfrm>
            <a:off x="5159100" y="1089025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Improving client experience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47" name="Google Shape;947;g87b7afb683_0_478"/>
          <p:cNvSpPr txBox="1"/>
          <p:nvPr/>
        </p:nvSpPr>
        <p:spPr>
          <a:xfrm>
            <a:off x="7417050" y="1428800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Quicker</a:t>
            </a:r>
            <a:b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GTM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48" name="Google Shape;948;g87b7afb683_0_478"/>
          <p:cNvSpPr txBox="1"/>
          <p:nvPr/>
        </p:nvSpPr>
        <p:spPr>
          <a:xfrm>
            <a:off x="8705525" y="2968875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Autonomy for Innovation Teams</a:t>
            </a:r>
            <a:endParaRPr sz="16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49" name="Google Shape;949;g87b7afb683_0_478"/>
          <p:cNvSpPr txBox="1"/>
          <p:nvPr/>
        </p:nvSpPr>
        <p:spPr>
          <a:xfrm>
            <a:off x="2994850" y="1511800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Access to bigger network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0" name="Google Shape;950;g87b7afb683_0_478"/>
          <p:cNvSpPr txBox="1"/>
          <p:nvPr/>
        </p:nvSpPr>
        <p:spPr>
          <a:xfrm>
            <a:off x="1612675" y="3121125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Scale up sustainably </a:t>
            </a:r>
            <a:endParaRPr sz="16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1" name="Google Shape;951;g87b7afb683_0_478"/>
          <p:cNvSpPr txBox="1"/>
          <p:nvPr/>
        </p:nvSpPr>
        <p:spPr>
          <a:xfrm>
            <a:off x="2994850" y="4730450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New revenue stream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2" name="Google Shape;952;g87b7afb683_0_478"/>
          <p:cNvSpPr txBox="1"/>
          <p:nvPr/>
        </p:nvSpPr>
        <p:spPr>
          <a:xfrm>
            <a:off x="5159100" y="5245050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More </a:t>
            </a:r>
            <a:b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funding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3" name="Google Shape;953;g87b7afb683_0_478"/>
          <p:cNvSpPr txBox="1"/>
          <p:nvPr/>
        </p:nvSpPr>
        <p:spPr>
          <a:xfrm>
            <a:off x="7417050" y="4806650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Improving client experience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4" name="Google Shape;954;g87b7afb683_0_478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GAINS FOR STARTUPS</a:t>
            </a:r>
            <a:endParaRPr/>
          </a:p>
        </p:txBody>
      </p:sp>
      <p:pic>
        <p:nvPicPr>
          <p:cNvPr id="955" name="Google Shape;955;g87b7afb683_0_478"/>
          <p:cNvPicPr preferRelativeResize="0"/>
          <p:nvPr/>
        </p:nvPicPr>
        <p:blipFill rotWithShape="1">
          <a:blip r:embed="rId4">
            <a:alphaModFix/>
          </a:blip>
          <a:srcRect r="22160" b="20603"/>
          <a:stretch/>
        </p:blipFill>
        <p:spPr>
          <a:xfrm>
            <a:off x="10958525" y="5604775"/>
            <a:ext cx="1233474" cy="125322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1" name="Google Shape;961;g87b7afb683_0_509"/>
          <p:cNvPicPr preferRelativeResize="0"/>
          <p:nvPr/>
        </p:nvPicPr>
        <p:blipFill rotWithShape="1">
          <a:blip r:embed="rId3">
            <a:alphaModFix/>
          </a:blip>
          <a:srcRect r="10992" b="-2880"/>
          <a:stretch/>
        </p:blipFill>
        <p:spPr>
          <a:xfrm>
            <a:off x="-76200" y="-28100"/>
            <a:ext cx="10957325" cy="7123750"/>
          </a:xfrm>
          <a:prstGeom prst="rect">
            <a:avLst/>
          </a:prstGeom>
          <a:noFill/>
          <a:ln>
            <a:noFill/>
          </a:ln>
        </p:spPr>
      </p:pic>
      <p:sp>
        <p:nvSpPr>
          <p:cNvPr id="962" name="Google Shape;962;g87b7afb683_0_50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63" name="Google Shape;963;g87b7afb683_0_509"/>
          <p:cNvSpPr txBox="1"/>
          <p:nvPr/>
        </p:nvSpPr>
        <p:spPr>
          <a:xfrm>
            <a:off x="4774950" y="3166913"/>
            <a:ext cx="2642100" cy="46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PAIN POINTS</a:t>
            </a:r>
            <a:endParaRPr sz="2200" b="1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4" name="Google Shape;964;g87b7afb683_0_509"/>
          <p:cNvSpPr txBox="1"/>
          <p:nvPr/>
        </p:nvSpPr>
        <p:spPr>
          <a:xfrm>
            <a:off x="5187063" y="918375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Corporate hesitation to test and fail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5" name="Google Shape;965;g87b7afb683_0_509"/>
          <p:cNvSpPr txBox="1"/>
          <p:nvPr/>
        </p:nvSpPr>
        <p:spPr>
          <a:xfrm>
            <a:off x="7435943" y="1371493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Legacy</a:t>
            </a:r>
            <a:b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mentality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6" name="Google Shape;966;g87b7afb683_0_509"/>
          <p:cNvSpPr txBox="1"/>
          <p:nvPr/>
        </p:nvSpPr>
        <p:spPr>
          <a:xfrm>
            <a:off x="8724418" y="3101753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ot included in early discussions</a:t>
            </a:r>
            <a:endParaRPr sz="16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7" name="Google Shape;967;g87b7afb683_0_509"/>
          <p:cNvSpPr txBox="1"/>
          <p:nvPr/>
        </p:nvSpPr>
        <p:spPr>
          <a:xfrm>
            <a:off x="2957065" y="1474015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Bureaucratic process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8" name="Google Shape;968;g87b7afb683_0_509"/>
          <p:cNvSpPr txBox="1"/>
          <p:nvPr/>
        </p:nvSpPr>
        <p:spPr>
          <a:xfrm>
            <a:off x="1536475" y="3121125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Many security requirements</a:t>
            </a:r>
            <a:endParaRPr sz="1600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69" name="Google Shape;969;g87b7afb683_0_509"/>
          <p:cNvSpPr txBox="1"/>
          <p:nvPr/>
        </p:nvSpPr>
        <p:spPr>
          <a:xfrm>
            <a:off x="2994850" y="4730450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Solution may lack cultural fit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70" name="Google Shape;970;g87b7afb683_0_509"/>
          <p:cNvSpPr txBox="1"/>
          <p:nvPr/>
        </p:nvSpPr>
        <p:spPr>
          <a:xfrm>
            <a:off x="5159100" y="5245050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Close-minded approach 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71" name="Google Shape;971;g87b7afb683_0_509"/>
          <p:cNvSpPr txBox="1"/>
          <p:nvPr/>
        </p:nvSpPr>
        <p:spPr>
          <a:xfrm>
            <a:off x="7417050" y="4712187"/>
            <a:ext cx="1873800" cy="63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Century Gothic"/>
                <a:ea typeface="Century Gothic"/>
                <a:cs typeface="Century Gothic"/>
                <a:sym typeface="Century Gothic"/>
              </a:rPr>
              <a:t>Time wasted arranging meetings</a:t>
            </a:r>
            <a:endParaRPr sz="1600"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72" name="Google Shape;972;g87b7afb683_0_509"/>
          <p:cNvSpPr txBox="1">
            <a:spLocks noGrp="1"/>
          </p:cNvSpPr>
          <p:nvPr>
            <p:ph type="title"/>
          </p:nvPr>
        </p:nvSpPr>
        <p:spPr>
          <a:xfrm>
            <a:off x="442913" y="404813"/>
            <a:ext cx="10515600" cy="284700"/>
          </a:xfrm>
          <a:prstGeom prst="rect">
            <a:avLst/>
          </a:prstGeom>
        </p:spPr>
        <p:txBody>
          <a:bodyPr spcFirstLastPara="1" wrap="square" lIns="0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000000"/>
                </a:solidFill>
              </a:rPr>
              <a:t>PAIN POINTS FOR STARTUPS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973" name="Google Shape;973;g87b7afb683_0_509"/>
          <p:cNvSpPr/>
          <p:nvPr/>
        </p:nvSpPr>
        <p:spPr>
          <a:xfrm>
            <a:off x="10804925" y="-28100"/>
            <a:ext cx="1387200" cy="3694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Q_Ztd2qdlSmchMjHzx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InnovationLAB">
      <a:dk1>
        <a:srgbClr val="000000"/>
      </a:dk1>
      <a:lt1>
        <a:srgbClr val="FFFFFF"/>
      </a:lt1>
      <a:dk2>
        <a:srgbClr val="333032"/>
      </a:dk2>
      <a:lt2>
        <a:srgbClr val="E7E6E6"/>
      </a:lt2>
      <a:accent1>
        <a:srgbClr val="09DDF3"/>
      </a:accent1>
      <a:accent2>
        <a:srgbClr val="ABE338"/>
      </a:accent2>
      <a:accent3>
        <a:srgbClr val="FFF200"/>
      </a:accent3>
      <a:accent4>
        <a:srgbClr val="FF8C00"/>
      </a:accent4>
      <a:accent5>
        <a:srgbClr val="E63022"/>
      </a:accent5>
      <a:accent6>
        <a:srgbClr val="00546F"/>
      </a:accent6>
      <a:hlink>
        <a:srgbClr val="008AAB"/>
      </a:hlink>
      <a:folHlink>
        <a:srgbClr val="F3470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295981471B00D4C8CF23DD2757C7E09" ma:contentTypeVersion="12" ma:contentTypeDescription="Create a new document." ma:contentTypeScope="" ma:versionID="24dbb352f03827849d487d1591baac89">
  <xsd:schema xmlns:xsd="http://www.w3.org/2001/XMLSchema" xmlns:xs="http://www.w3.org/2001/XMLSchema" xmlns:p="http://schemas.microsoft.com/office/2006/metadata/properties" xmlns:ns2="8c82d70f-0045-46d1-82e5-fd94bde8ede1" xmlns:ns3="04330dfd-cfb6-4c76-b0b4-3be303146dea" targetNamespace="http://schemas.microsoft.com/office/2006/metadata/properties" ma:root="true" ma:fieldsID="b211dc8aa17bca8e48bf32c23b43ad1d" ns2:_="" ns3:_="">
    <xsd:import namespace="8c82d70f-0045-46d1-82e5-fd94bde8ede1"/>
    <xsd:import namespace="04330dfd-cfb6-4c76-b0b4-3be303146d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82d70f-0045-46d1-82e5-fd94bde8ed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330dfd-cfb6-4c76-b0b4-3be303146de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60F58E-D2DC-486A-8516-1031524368B3}"/>
</file>

<file path=customXml/itemProps2.xml><?xml version="1.0" encoding="utf-8"?>
<ds:datastoreItem xmlns:ds="http://schemas.openxmlformats.org/officeDocument/2006/customXml" ds:itemID="{F3F827E3-A5A7-4694-980D-B949F8DC165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4F0718E-19D9-4BE6-A961-2E4E062EBC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99</Words>
  <Application>Microsoft Office PowerPoint</Application>
  <PresentationFormat>Widescreen</PresentationFormat>
  <Paragraphs>246</Paragraphs>
  <Slides>17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Century Gothic</vt:lpstr>
      <vt:lpstr>Courier New</vt:lpstr>
      <vt:lpstr>Calibri</vt:lpstr>
      <vt:lpstr>Arial</vt:lpstr>
      <vt:lpstr>1_Office Theme</vt:lpstr>
      <vt:lpstr>1_Office Theme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THE PROBLEM</vt:lpstr>
      <vt:lpstr>PowerPoint Presentation</vt:lpstr>
      <vt:lpstr>PowerPoint Presentation</vt:lpstr>
      <vt:lpstr>DISCOVERY</vt:lpstr>
      <vt:lpstr>PowerPoint Presentation</vt:lpstr>
      <vt:lpstr>PowerPoint Presentation</vt:lpstr>
      <vt:lpstr>PowerPoint Presentation</vt:lpstr>
      <vt:lpstr>OUR FOCUS: WORKING WITH BETTY</vt:lpstr>
      <vt:lpstr>PERSONA JOURNEY MAP</vt:lpstr>
      <vt:lpstr>PowerPoint Presentation</vt:lpstr>
      <vt:lpstr>OUR SOLUTION IDEAS</vt:lpstr>
      <vt:lpstr>OUR SOLUTION: A COMMITTEE OF DECISION MAKER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beth Ramos</dc:creator>
  <cp:lastModifiedBy>Ibeth Ramos ext</cp:lastModifiedBy>
  <cp:revision>13</cp:revision>
  <dcterms:created xsi:type="dcterms:W3CDTF">2019-06-21T20:10:19Z</dcterms:created>
  <dcterms:modified xsi:type="dcterms:W3CDTF">2020-10-23T15:5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295981471B00D4C8CF23DD2757C7E09</vt:lpwstr>
  </property>
</Properties>
</file>